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36"/>
  </p:notesMasterIdLst>
  <p:sldIdLst>
    <p:sldId id="257" r:id="rId2"/>
    <p:sldId id="305" r:id="rId3"/>
    <p:sldId id="321" r:id="rId4"/>
    <p:sldId id="324" r:id="rId5"/>
    <p:sldId id="309" r:id="rId6"/>
    <p:sldId id="310" r:id="rId7"/>
    <p:sldId id="312" r:id="rId8"/>
    <p:sldId id="311" r:id="rId9"/>
    <p:sldId id="313" r:id="rId10"/>
    <p:sldId id="325" r:id="rId11"/>
    <p:sldId id="326" r:id="rId12"/>
    <p:sldId id="327" r:id="rId13"/>
    <p:sldId id="306" r:id="rId14"/>
    <p:sldId id="308" r:id="rId15"/>
    <p:sldId id="274" r:id="rId16"/>
    <p:sldId id="280" r:id="rId17"/>
    <p:sldId id="277" r:id="rId18"/>
    <p:sldId id="281" r:id="rId19"/>
    <p:sldId id="290" r:id="rId20"/>
    <p:sldId id="295" r:id="rId21"/>
    <p:sldId id="291" r:id="rId22"/>
    <p:sldId id="293" r:id="rId23"/>
    <p:sldId id="292" r:id="rId24"/>
    <p:sldId id="276" r:id="rId25"/>
    <p:sldId id="262" r:id="rId26"/>
    <p:sldId id="258" r:id="rId27"/>
    <p:sldId id="263" r:id="rId28"/>
    <p:sldId id="298" r:id="rId29"/>
    <p:sldId id="317" r:id="rId30"/>
    <p:sldId id="318" r:id="rId31"/>
    <p:sldId id="319" r:id="rId32"/>
    <p:sldId id="304" r:id="rId33"/>
    <p:sldId id="320" r:id="rId34"/>
    <p:sldId id="328" r:id="rId35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B638F"/>
    <a:srgbClr val="006699"/>
    <a:srgbClr val="2CBEE0"/>
    <a:srgbClr val="1FB1D3"/>
    <a:srgbClr val="095981"/>
    <a:srgbClr val="0B7CB5"/>
    <a:srgbClr val="148FAC"/>
    <a:srgbClr val="FFCA21"/>
    <a:srgbClr val="FFD243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608"/>
    <p:restoredTop sz="91186"/>
  </p:normalViewPr>
  <p:slideViewPr>
    <p:cSldViewPr>
      <p:cViewPr>
        <p:scale>
          <a:sx n="92" d="100"/>
          <a:sy n="92" d="100"/>
        </p:scale>
        <p:origin x="-264" y="-25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Лист1!$A$2:$A$4</c:f>
              <c:strCache>
                <c:ptCount val="1"/>
                <c:pt idx="0">
                  <c:v>США Европейский союз (EU 28) Россия</c:v>
                </c:pt>
              </c:strCache>
            </c:strRef>
          </c:tx>
          <c:spPr>
            <a:ln w="25400">
              <a:noFill/>
            </a:ln>
            <a:effectLst/>
          </c:spPr>
          <c:marker>
            <c:spPr>
              <a:solidFill>
                <a:schemeClr val="accent5"/>
              </a:solidFill>
              <a:ln w="25400" cap="flat" cmpd="sng" algn="ctr">
                <a:solidFill>
                  <a:schemeClr val="accent5">
                    <a:shade val="50000"/>
                  </a:schemeClr>
                </a:solidFill>
                <a:prstDash val="solid"/>
              </a:ln>
              <a:effectLst/>
            </c:spPr>
          </c:marker>
          <c:xVal>
            <c:numRef>
              <c:f>Лист1!$C$2:$C$4</c:f>
              <c:numCache>
                <c:formatCode>#,##0.0</c:formatCode>
                <c:ptCount val="3"/>
                <c:pt idx="0">
                  <c:v>9.4025000000000052</c:v>
                </c:pt>
                <c:pt idx="1">
                  <c:v>4.1352000000000002</c:v>
                </c:pt>
                <c:pt idx="2">
                  <c:v>0.89290000000000003</c:v>
                </c:pt>
              </c:numCache>
            </c:numRef>
          </c:xVal>
          <c:yVal>
            <c:numRef>
              <c:f>Лист1!$B$2:$B$4</c:f>
              <c:numCache>
                <c:formatCode>#,##0</c:formatCode>
                <c:ptCount val="3"/>
                <c:pt idx="0">
                  <c:v>49</c:v>
                </c:pt>
                <c:pt idx="1">
                  <c:v>19</c:v>
                </c:pt>
                <c:pt idx="2">
                  <c:v>4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2528000"/>
        <c:axId val="32528576"/>
      </c:scatterChart>
      <c:valAx>
        <c:axId val="3252800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400"/>
                </a:pPr>
                <a:r>
                  <a:rPr lang="ru-RU" sz="1400"/>
                  <a:t>Расходы на здравоохранение, тыс. долл./чел/год</a:t>
                </a:r>
              </a:p>
            </c:rich>
          </c:tx>
          <c:layout/>
          <c:overlay val="0"/>
        </c:title>
        <c:numFmt formatCode="#,##0.0" sourceLinked="1"/>
        <c:majorTickMark val="out"/>
        <c:minorTickMark val="none"/>
        <c:tickLblPos val="nextTo"/>
        <c:crossAx val="32528576"/>
        <c:crosses val="autoZero"/>
        <c:crossBetween val="midCat"/>
      </c:valAx>
      <c:valAx>
        <c:axId val="32528576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1400"/>
                </a:pPr>
                <a:r>
                  <a:rPr lang="ru-RU" sz="1400"/>
                  <a:t>Процедуры ЯМ, шт/1000 чел/год</a:t>
                </a:r>
              </a:p>
            </c:rich>
          </c:tx>
          <c:layout>
            <c:manualLayout>
              <c:xMode val="edge"/>
              <c:yMode val="edge"/>
              <c:x val="1.24740357528628E-2"/>
              <c:y val="0.10821854863533301"/>
            </c:manualLayout>
          </c:layout>
          <c:overlay val="0"/>
        </c:title>
        <c:numFmt formatCode="#,##0" sourceLinked="1"/>
        <c:majorTickMark val="out"/>
        <c:minorTickMark val="none"/>
        <c:tickLblPos val="nextTo"/>
        <c:crossAx val="32528000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 sz="1800">
          <a:solidFill>
            <a:schemeClr val="bg1"/>
          </a:solidFill>
        </a:defRPr>
      </a:pPr>
      <a:endParaRPr lang="ru-RU"/>
    </a:p>
  </c:tx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707</cdr:x>
      <cdr:y>0.05184</cdr:y>
    </cdr:from>
    <cdr:to>
      <cdr:x>0.99351</cdr:x>
      <cdr:y>0.1448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987599" y="198226"/>
          <a:ext cx="844535" cy="35557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600" dirty="0" smtClean="0">
              <a:latin typeface="Times New Roman" pitchFamily="18" charset="0"/>
              <a:cs typeface="Times New Roman" pitchFamily="18" charset="0"/>
            </a:rPr>
            <a:t>США</a:t>
          </a:r>
          <a:endParaRPr lang="ru-RU" sz="16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41623</cdr:x>
      <cdr:y>0.62105</cdr:y>
    </cdr:from>
    <cdr:to>
      <cdr:x>0.60921</cdr:x>
      <cdr:y>0.71404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2862318" y="2374734"/>
          <a:ext cx="1327078" cy="35557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600" dirty="0">
              <a:latin typeface="Times New Roman" pitchFamily="18" charset="0"/>
              <a:cs typeface="Times New Roman" pitchFamily="18" charset="0"/>
            </a:rPr>
            <a:t>Европейский союз (</a:t>
          </a:r>
          <a:r>
            <a:rPr lang="en-US" sz="1600" dirty="0">
              <a:latin typeface="Times New Roman" pitchFamily="18" charset="0"/>
              <a:cs typeface="Times New Roman" pitchFamily="18" charset="0"/>
            </a:rPr>
            <a:t>EU </a:t>
          </a:r>
          <a:r>
            <a:rPr lang="en-US" sz="1600" dirty="0" smtClean="0">
              <a:latin typeface="Times New Roman" pitchFamily="18" charset="0"/>
              <a:cs typeface="Times New Roman" pitchFamily="18" charset="0"/>
            </a:rPr>
            <a:t>28)</a:t>
          </a:r>
          <a:endParaRPr lang="ru-RU" sz="16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2304</cdr:x>
      <cdr:y>0.62105</cdr:y>
    </cdr:from>
    <cdr:to>
      <cdr:x>0.31602</cdr:x>
      <cdr:y>0.71404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846094" y="2374734"/>
          <a:ext cx="1327078" cy="35557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600" dirty="0" smtClean="0">
              <a:latin typeface="Times New Roman" pitchFamily="18" charset="0"/>
              <a:cs typeface="Times New Roman" pitchFamily="18" charset="0"/>
            </a:rPr>
            <a:t>Россия</a:t>
          </a:r>
          <a:endParaRPr lang="ru-RU" sz="1600" baseline="30000" dirty="0"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A87ED4-74CA-7D4D-A5AA-44ACD2118628}" type="datetimeFigureOut">
              <a:rPr lang="ru-RU" smtClean="0"/>
              <a:t>04.12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F8F048-342D-4041-B444-FB01EA9BC96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5201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80B576-A75B-49B4-B6FD-5FA30A8BFA95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74034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F8F048-342D-4041-B444-FB01EA9BC96B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56000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ротонная</a:t>
            </a:r>
            <a:r>
              <a:rPr lang="ru-RU" baseline="0" dirty="0" smtClean="0"/>
              <a:t> лучевая терапия – наиболее динамично развивающийся метод радиационной онкологии. На данном слайде представлен рост числа протонных центров в США, Их число уже перевалило за сорок. В России же пока функционирует </a:t>
            </a:r>
            <a:r>
              <a:rPr lang="ru-RU" baseline="0" dirty="0" err="1" smtClean="0"/>
              <a:t>единственныйс</a:t>
            </a:r>
            <a:r>
              <a:rPr lang="ru-RU" baseline="0" dirty="0" smtClean="0"/>
              <a:t> </a:t>
            </a:r>
            <a:r>
              <a:rPr lang="ru-RU" baseline="0" dirty="0" err="1" smtClean="0"/>
              <a:t>пециализированный</a:t>
            </a:r>
            <a:r>
              <a:rPr lang="ru-RU" baseline="0" dirty="0" smtClean="0"/>
              <a:t> центр протонной лучевой терапии в </a:t>
            </a:r>
            <a:r>
              <a:rPr lang="ru-RU" baseline="0" smtClean="0"/>
              <a:t>г.Обнинске </a:t>
            </a:r>
            <a:endParaRPr lang="ru-RU" baseline="0" dirty="0" smtClean="0"/>
          </a:p>
          <a:p>
            <a:r>
              <a:rPr lang="ru-RU" baseline="0" dirty="0" smtClean="0"/>
              <a:t>Тем не менее, под руководством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B55BC1-2D0E-4735-AD72-67C1A8CE8325}" type="slidenum">
              <a:rPr lang="ru-RU" altLang="ru-RU" smtClean="0"/>
              <a:pPr>
                <a:defRPr/>
              </a:pPr>
              <a:t>2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800561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4334933" y="1169931"/>
            <a:ext cx="4814835" cy="4993802"/>
            <a:chOff x="4334933" y="1169931"/>
            <a:chExt cx="4814835" cy="4993802"/>
          </a:xfrm>
        </p:grpSpPr>
        <p:cxnSp>
          <p:nvCxnSpPr>
            <p:cNvPr id="17" name="Straight Connector 16"/>
            <p:cNvCxnSpPr/>
            <p:nvPr/>
          </p:nvCxnSpPr>
          <p:spPr>
            <a:xfrm flipH="1">
              <a:off x="6009259" y="1169931"/>
              <a:ext cx="3134741" cy="3134741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4334933" y="1348898"/>
              <a:ext cx="4814835" cy="4814835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5225595" y="1469269"/>
              <a:ext cx="3912054" cy="391205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>
              <a:off x="5304588" y="1307856"/>
              <a:ext cx="3839412" cy="3839412"/>
            </a:xfrm>
            <a:prstGeom prst="line">
              <a:avLst/>
            </a:prstGeom>
            <a:ln w="317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>
              <a:off x="5707078" y="1770196"/>
              <a:ext cx="3430571" cy="3430570"/>
            </a:xfrm>
            <a:prstGeom prst="line">
              <a:avLst/>
            </a:prstGeom>
            <a:ln w="317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3400" y="533400"/>
            <a:ext cx="6154713" cy="3124201"/>
          </a:xfrm>
        </p:spPr>
        <p:txBody>
          <a:bodyPr anchor="b">
            <a:normAutofit/>
          </a:bodyPr>
          <a:lstStyle>
            <a:lvl1pPr algn="l">
              <a:defRPr sz="4400">
                <a:effectLst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3400" y="3843868"/>
            <a:ext cx="4954250" cy="1913466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563435-3A22-4214-B832-A0C987897BF0}" type="datetimeFigureOut">
              <a:rPr lang="ru-RU" smtClean="0"/>
              <a:t>04.12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3E4A8-A6F6-462C-9B45-015204043B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75971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ое изображение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4495800"/>
            <a:ext cx="6554867" cy="1524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6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533400" y="533400"/>
            <a:ext cx="8077200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Чтобы добавить рисунок, перетащите его в заполнитель или щелкните значок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762002" y="3843867"/>
            <a:ext cx="7281332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563435-3A22-4214-B832-A0C987897BF0}" type="datetimeFigureOut">
              <a:rPr lang="ru-RU" smtClean="0"/>
              <a:t>04.12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3E4A8-A6F6-462C-9B45-015204043B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16772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533400"/>
            <a:ext cx="8077200" cy="2895600"/>
          </a:xfrm>
        </p:spPr>
        <p:txBody>
          <a:bodyPr anchor="ctr">
            <a:normAutofit/>
          </a:bodyPr>
          <a:lstStyle>
            <a:lvl1pPr algn="l">
              <a:defRPr sz="2800" b="0" cap="all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4114800"/>
            <a:ext cx="6383552" cy="1905000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563435-3A22-4214-B832-A0C987897BF0}" type="datetimeFigureOut">
              <a:rPr lang="ru-RU" smtClean="0"/>
              <a:t>04.12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3E4A8-A6F6-462C-9B45-015204043B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857224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283" y="533400"/>
            <a:ext cx="6859787" cy="2895600"/>
          </a:xfrm>
        </p:spPr>
        <p:txBody>
          <a:bodyPr anchor="ctr">
            <a:normAutofit/>
          </a:bodyPr>
          <a:lstStyle>
            <a:lvl1pPr algn="l">
              <a:defRPr sz="2800" b="0" cap="all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66800" y="3429000"/>
            <a:ext cx="6402467" cy="4826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4301070"/>
            <a:ext cx="6382361" cy="171873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563435-3A22-4214-B832-A0C987897BF0}" type="datetimeFigureOut">
              <a:rPr lang="ru-RU" smtClean="0"/>
              <a:t>04.12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3E4A8-A6F6-462C-9B45-015204043BC6}" type="slidenum">
              <a:rPr lang="ru-RU" smtClean="0"/>
              <a:t>‹#›</a:t>
            </a:fld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228600" y="710624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696200" y="2768601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7602885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с имен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3429000"/>
            <a:ext cx="6382361" cy="1697400"/>
          </a:xfrm>
        </p:spPr>
        <p:txBody>
          <a:bodyPr anchor="b">
            <a:normAutofit/>
          </a:bodyPr>
          <a:lstStyle>
            <a:lvl1pPr algn="l">
              <a:defRPr sz="2800" b="0" cap="all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5132980"/>
            <a:ext cx="6383552" cy="886819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563435-3A22-4214-B832-A0C987897BF0}" type="datetimeFigureOut">
              <a:rPr lang="ru-RU" smtClean="0"/>
              <a:t>04.12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3E4A8-A6F6-462C-9B45-015204043B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20274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с цита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284" y="533400"/>
            <a:ext cx="6859786" cy="2895600"/>
          </a:xfrm>
        </p:spPr>
        <p:txBody>
          <a:bodyPr anchor="ctr">
            <a:normAutofit/>
          </a:bodyPr>
          <a:lstStyle>
            <a:lvl1pPr algn="l">
              <a:defRPr sz="2800" b="0" cap="all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3400" y="3886200"/>
            <a:ext cx="638236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0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4953000"/>
            <a:ext cx="6382360" cy="10668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563435-3A22-4214-B832-A0C987897BF0}" type="datetimeFigureOut">
              <a:rPr lang="ru-RU" smtClean="0"/>
              <a:t>04.12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3E4A8-A6F6-462C-9B45-015204043BC6}" type="slidenum">
              <a:rPr lang="ru-RU" smtClean="0"/>
              <a:t>‹#›</a:t>
            </a:fld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228600" y="710624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696200" y="2768601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5971398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533400"/>
            <a:ext cx="7525658" cy="28956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2800" b="0" dirty="0"/>
            </a:lvl1pPr>
          </a:lstStyle>
          <a:p>
            <a:pPr marL="0" lvl="0"/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3400" y="3928534"/>
            <a:ext cx="6382361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0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4766735"/>
            <a:ext cx="6382360" cy="1253065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563435-3A22-4214-B832-A0C987897BF0}" type="datetimeFigureOut">
              <a:rPr lang="ru-RU" smtClean="0"/>
              <a:t>04.12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3E4A8-A6F6-462C-9B45-015204043B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16576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4495800"/>
            <a:ext cx="6554867" cy="1524000"/>
          </a:xfrm>
        </p:spPr>
        <p:txBody>
          <a:bodyPr>
            <a:normAutofit/>
          </a:bodyPr>
          <a:lstStyle>
            <a:lvl1pPr algn="l">
              <a:defRPr sz="28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3400" y="533401"/>
            <a:ext cx="6554867" cy="3767670"/>
          </a:xfrm>
        </p:spPr>
        <p:txBody>
          <a:bodyPr vert="eaVert" anchor="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563435-3A22-4214-B832-A0C987897BF0}" type="datetimeFigureOut">
              <a:rPr lang="ru-RU" smtClean="0"/>
              <a:t>04.12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3E4A8-A6F6-462C-9B45-015204043B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12856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66406" y="533400"/>
            <a:ext cx="2044194" cy="4419600"/>
          </a:xfrm>
        </p:spPr>
        <p:txBody>
          <a:bodyPr vert="eaVert">
            <a:normAutofit/>
          </a:bodyPr>
          <a:lstStyle>
            <a:lvl1pPr>
              <a:defRPr sz="28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3400" y="533400"/>
            <a:ext cx="5850012" cy="5486400"/>
          </a:xfrm>
        </p:spPr>
        <p:txBody>
          <a:bodyPr vert="eaVert" anchor="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563435-3A22-4214-B832-A0C987897BF0}" type="datetimeFigureOut">
              <a:rPr lang="ru-RU" smtClean="0"/>
              <a:t>04.12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3E4A8-A6F6-462C-9B45-015204043B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25609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755576" y="6237312"/>
            <a:ext cx="8209037" cy="287338"/>
          </a:xfrm>
          <a:prstGeom prst="rect">
            <a:avLst/>
          </a:prstGeom>
        </p:spPr>
        <p:txBody>
          <a:bodyPr lIns="36000" tIns="0" rIns="36000" bIns="0" anchor="b" anchorCtr="0"/>
          <a:lstStyle>
            <a:lvl1pPr>
              <a:buNone/>
              <a:defRPr sz="800"/>
            </a:lvl1pPr>
          </a:lstStyle>
          <a:p>
            <a:pPr lvl="0"/>
            <a:r>
              <a:rPr lang="ru-RU" dirty="0" smtClean="0"/>
              <a:t>Примечания</a:t>
            </a:r>
          </a:p>
          <a:p>
            <a:pPr lvl="0"/>
            <a:r>
              <a:rPr lang="ru-RU" dirty="0" smtClean="0"/>
              <a:t>Источники: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27641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4495800"/>
            <a:ext cx="6554867" cy="1524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533400"/>
            <a:ext cx="6554867" cy="3767670"/>
          </a:xfrm>
        </p:spPr>
        <p:txBody>
          <a:bodyPr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563435-3A22-4214-B832-A0C987897BF0}" type="datetimeFigureOut">
              <a:rPr lang="ru-RU" smtClean="0"/>
              <a:t>04.12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3E4A8-A6F6-462C-9B45-015204043B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50174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1981199"/>
            <a:ext cx="6402468" cy="2319867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4487333"/>
            <a:ext cx="6402467" cy="15324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563435-3A22-4214-B832-A0C987897BF0}" type="datetimeFigureOut">
              <a:rPr lang="ru-RU" smtClean="0"/>
              <a:t>04.12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3E4A8-A6F6-462C-9B45-015204043B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7588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4495800"/>
            <a:ext cx="6554867" cy="15240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3"/>
          </p:nvPr>
        </p:nvSpPr>
        <p:spPr>
          <a:xfrm>
            <a:off x="533400" y="533400"/>
            <a:ext cx="3949967" cy="3767667"/>
          </a:xfrm>
        </p:spPr>
        <p:txBody>
          <a:bodyPr anchor="ctr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4"/>
          </p:nvPr>
        </p:nvSpPr>
        <p:spPr>
          <a:xfrm>
            <a:off x="4662362" y="533400"/>
            <a:ext cx="3948238" cy="3759200"/>
          </a:xfrm>
        </p:spPr>
        <p:txBody>
          <a:bodyPr anchor="ctr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563435-3A22-4214-B832-A0C987897BF0}" type="datetimeFigureOut">
              <a:rPr lang="ru-RU" smtClean="0"/>
              <a:t>04.12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3E4A8-A6F6-462C-9B45-015204043B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73346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4495800"/>
            <a:ext cx="6554867" cy="15240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1" y="533400"/>
            <a:ext cx="3716866" cy="609600"/>
          </a:xfrm>
        </p:spPr>
        <p:txBody>
          <a:bodyPr anchor="b">
            <a:noAutofit/>
          </a:bodyPr>
          <a:lstStyle>
            <a:lvl1pPr marL="0" indent="0">
              <a:buNone/>
              <a:defRPr sz="2400" b="0" cap="all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3399" y="1143000"/>
            <a:ext cx="3945467" cy="3158067"/>
          </a:xfrm>
        </p:spPr>
        <p:txBody>
          <a:bodyPr anchor="t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55016" y="566738"/>
            <a:ext cx="376405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 cap="all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2362" y="1143000"/>
            <a:ext cx="3956705" cy="3149600"/>
          </a:xfrm>
        </p:spPr>
        <p:txBody>
          <a:bodyPr anchor="t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563435-3A22-4214-B832-A0C987897BF0}" type="datetimeFigureOut">
              <a:rPr lang="ru-RU" smtClean="0"/>
              <a:t>04.12.2017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3E4A8-A6F6-462C-9B45-015204043B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32329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4495800"/>
            <a:ext cx="6554867" cy="15240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563435-3A22-4214-B832-A0C987897BF0}" type="datetimeFigureOut">
              <a:rPr lang="ru-RU" smtClean="0"/>
              <a:t>04.12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3E4A8-A6F6-462C-9B45-015204043B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34451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563435-3A22-4214-B832-A0C987897BF0}" type="datetimeFigureOut">
              <a:rPr lang="ru-RU" smtClean="0"/>
              <a:t>04.12.2017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3E4A8-A6F6-462C-9B45-015204043B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2652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8667" y="533400"/>
            <a:ext cx="3200400" cy="1524000"/>
          </a:xfrm>
        </p:spPr>
        <p:txBody>
          <a:bodyPr anchor="b">
            <a:normAutofit/>
          </a:bodyPr>
          <a:lstStyle>
            <a:lvl1pPr algn="l">
              <a:defRPr sz="20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399" y="533400"/>
            <a:ext cx="4438755" cy="5486400"/>
          </a:xfrm>
        </p:spPr>
        <p:txBody>
          <a:bodyPr anchor="ctr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418667" y="2209802"/>
            <a:ext cx="32004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563435-3A22-4214-B832-A0C987897BF0}" type="datetimeFigureOut">
              <a:rPr lang="ru-RU" smtClean="0"/>
              <a:t>04.12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3E4A8-A6F6-462C-9B45-015204043B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15696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5800" y="1447800"/>
            <a:ext cx="3563258" cy="11430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762000" y="914400"/>
            <a:ext cx="3280974" cy="48006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Чтобы добавить рисунок, перетащите его в заполнитель или щелкните значок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96027" y="2743200"/>
            <a:ext cx="3564223" cy="2082800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563435-3A22-4214-B832-A0C987897BF0}" type="datetimeFigureOut">
              <a:rPr lang="ru-RU" smtClean="0"/>
              <a:t>04.12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33400" y="6172200"/>
            <a:ext cx="5811724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3E4A8-A6F6-462C-9B45-015204043B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1853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0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6670675" y="3894667"/>
            <a:ext cx="2470456" cy="2658533"/>
            <a:chOff x="6687077" y="3259666"/>
            <a:chExt cx="2981857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8756120" y="3259666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6687077" y="3486677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7772400" y="3581400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7923214" y="3433394"/>
              <a:ext cx="1739738" cy="173974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8398935" y="3985317"/>
              <a:ext cx="1264017" cy="1264016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3400" y="4495800"/>
            <a:ext cx="6554867" cy="1524000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533401"/>
            <a:ext cx="6554867" cy="37676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430245" y="6172203"/>
            <a:ext cx="1200463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38563435-3A22-4214-B832-A0C987897BF0}" type="datetimeFigureOut">
              <a:rPr lang="ru-RU" smtClean="0"/>
              <a:t>04.12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172200"/>
            <a:ext cx="5811724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74426" y="5578478"/>
            <a:ext cx="856907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28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6203E4A8-A6F6-462C-9B45-015204043B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07492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  <p:sldLayoutId id="2147483715" r:id="rId18"/>
  </p:sldLayoutIdLst>
  <p:txStyles>
    <p:titleStyle>
      <a:lvl1pPr algn="l" defTabSz="457200" rtl="0" eaLnBrk="1" latinLnBrk="0" hangingPunct="1">
        <a:spcBef>
          <a:spcPct val="0"/>
        </a:spcBef>
        <a:buNone/>
        <a:defRPr sz="32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4.pn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7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.bin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chart" Target="../charts/chart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Заголовок 3"/>
          <p:cNvSpPr>
            <a:spLocks noGrp="1"/>
          </p:cNvSpPr>
          <p:nvPr>
            <p:ph type="ctrTitle"/>
          </p:nvPr>
        </p:nvSpPr>
        <p:spPr>
          <a:xfrm>
            <a:off x="395536" y="1988840"/>
            <a:ext cx="8424936" cy="2387556"/>
          </a:xfrm>
        </p:spPr>
        <p:txBody>
          <a:bodyPr>
            <a:normAutofit/>
          </a:bodyPr>
          <a:lstStyle/>
          <a:p>
            <a:pPr algn="ctr" defTabSz="910357"/>
            <a:r>
              <a:rPr lang="ru-RU" altLang="ru-RU" sz="2400" b="1" dirty="0" smtClean="0">
                <a:latin typeface="Times New Roman" pitchFamily="18" charset="0"/>
                <a:ea typeface="Arial" charset="0"/>
                <a:cs typeface="Times New Roman" pitchFamily="18" charset="0"/>
              </a:rPr>
              <a:t>Роль Методов ядерной медицины </a:t>
            </a:r>
            <a:br>
              <a:rPr lang="ru-RU" altLang="ru-RU" sz="2400" b="1" dirty="0" smtClean="0">
                <a:latin typeface="Times New Roman" pitchFamily="18" charset="0"/>
                <a:ea typeface="Arial" charset="0"/>
                <a:cs typeface="Times New Roman" pitchFamily="18" charset="0"/>
              </a:rPr>
            </a:br>
            <a:r>
              <a:rPr lang="ru-RU" altLang="ru-RU" sz="2400" b="1" dirty="0" smtClean="0">
                <a:latin typeface="Times New Roman" pitchFamily="18" charset="0"/>
                <a:ea typeface="Arial" charset="0"/>
                <a:cs typeface="Times New Roman" pitchFamily="18" charset="0"/>
              </a:rPr>
              <a:t>в диагностике и лечении неинфекционных </a:t>
            </a:r>
            <a:r>
              <a:rPr lang="ru-RU" altLang="ru-RU" sz="2400" b="1" dirty="0" smtClean="0">
                <a:latin typeface="Times New Roman" pitchFamily="18" charset="0"/>
                <a:ea typeface="Arial" charset="0"/>
                <a:cs typeface="Times New Roman" pitchFamily="18" charset="0"/>
              </a:rPr>
              <a:t>заболеваний</a:t>
            </a:r>
            <a:endParaRPr lang="ru-RU" altLang="ru-RU" sz="24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11560" y="10391"/>
            <a:ext cx="8208912" cy="1477313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pPr algn="ctr" eaLnBrk="1" hangingPunct="1"/>
            <a:r>
              <a:rPr lang="ru-RU" sz="1700" b="1" dirty="0">
                <a:solidFill>
                  <a:srgbClr val="DDDDDD"/>
                </a:solidFill>
                <a:latin typeface="Times New Roman" pitchFamily="18" charset="0"/>
                <a:cs typeface="Times New Roman" pitchFamily="18" charset="0"/>
              </a:rPr>
              <a:t>МИНИСТЕРСТВО ЗДРАВООХРАНЕНИЯ</a:t>
            </a:r>
          </a:p>
          <a:p>
            <a:pPr algn="ctr" eaLnBrk="1" hangingPunct="1"/>
            <a:r>
              <a:rPr lang="ru-RU" sz="1700" b="1" dirty="0">
                <a:solidFill>
                  <a:srgbClr val="DDDDDD"/>
                </a:solidFill>
                <a:latin typeface="Times New Roman" pitchFamily="18" charset="0"/>
                <a:cs typeface="Times New Roman" pitchFamily="18" charset="0"/>
              </a:rPr>
              <a:t> РОССИЙСКОЙ ФЕДЕРАЦИИ</a:t>
            </a:r>
          </a:p>
          <a:p>
            <a:pPr algn="ctr" eaLnBrk="1" hangingPunct="1"/>
            <a:r>
              <a:rPr lang="ru-RU" sz="1800" b="1" dirty="0">
                <a:solidFill>
                  <a:srgbClr val="DDDDDD"/>
                </a:solidFill>
                <a:latin typeface="Times New Roman" pitchFamily="18" charset="0"/>
                <a:cs typeface="Times New Roman" pitchFamily="18" charset="0"/>
              </a:rPr>
              <a:t>Федеральное государственное бюджетное учреждение </a:t>
            </a:r>
          </a:p>
          <a:p>
            <a:pPr algn="ctr" eaLnBrk="1" hangingPunct="1"/>
            <a:r>
              <a:rPr lang="ru-RU" sz="1800" b="1" dirty="0">
                <a:solidFill>
                  <a:srgbClr val="DDDDDD"/>
                </a:solidFill>
                <a:latin typeface="Times New Roman" pitchFamily="18" charset="0"/>
                <a:cs typeface="Times New Roman" pitchFamily="18" charset="0"/>
              </a:rPr>
              <a:t>«Национальный медицинский исследовательский центр радиологии» </a:t>
            </a:r>
          </a:p>
          <a:p>
            <a:pPr algn="ctr"/>
            <a:endParaRPr lang="ru-RU" sz="20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  <p:sp>
        <p:nvSpPr>
          <p:cNvPr id="4" name="Подзаголовок 4"/>
          <p:cNvSpPr>
            <a:spLocks noGrp="1"/>
          </p:cNvSpPr>
          <p:nvPr>
            <p:ph type="subTitle" idx="1"/>
          </p:nvPr>
        </p:nvSpPr>
        <p:spPr>
          <a:xfrm>
            <a:off x="1907704" y="4653136"/>
            <a:ext cx="6984976" cy="1296143"/>
          </a:xfrm>
        </p:spPr>
        <p:txBody>
          <a:bodyPr>
            <a:normAutofit/>
          </a:bodyPr>
          <a:lstStyle/>
          <a:p>
            <a:pPr algn="r"/>
            <a:r>
              <a:rPr lang="ru-RU" altLang="ru-RU" sz="2000" dirty="0"/>
              <a:t> </a:t>
            </a:r>
            <a:r>
              <a:rPr lang="ru-RU" altLang="ru-RU" sz="17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енеральный директор</a:t>
            </a:r>
          </a:p>
          <a:p>
            <a:pPr algn="r"/>
            <a:r>
              <a:rPr lang="ru-RU" altLang="ru-RU" sz="17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кадемик РАН</a:t>
            </a:r>
          </a:p>
          <a:p>
            <a:pPr algn="r"/>
            <a:r>
              <a:rPr lang="ru-RU" altLang="ru-RU" sz="17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.Д КАПРИН </a:t>
            </a:r>
          </a:p>
          <a:p>
            <a:endParaRPr lang="ru-RU" altLang="ru-RU" sz="2800" dirty="0"/>
          </a:p>
        </p:txBody>
      </p:sp>
    </p:spTree>
    <p:extLst>
      <p:ext uri="{BB962C8B-B14F-4D97-AF65-F5344CB8AC3E}">
        <p14:creationId xmlns:p14="http://schemas.microsoft.com/office/powerpoint/2010/main" val="1316481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307"/>
            <a:ext cx="9143999" cy="6857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60505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>
          <a:xfrm>
            <a:off x="462786" y="1556792"/>
            <a:ext cx="8229600" cy="504056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исудить премии Правительства Российской Федерации 2017 </a:t>
            </a:r>
            <a:r>
              <a:rPr lang="ru-RU" sz="28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года</a:t>
            </a:r>
          </a:p>
          <a:p>
            <a:r>
              <a:rPr lang="ru-RU" sz="28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28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бласти науки и </a:t>
            </a:r>
            <a:r>
              <a:rPr lang="ru-RU" sz="28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техники</a:t>
            </a:r>
          </a:p>
          <a:p>
            <a:r>
              <a:rPr lang="ru-RU" sz="28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 </a:t>
            </a:r>
            <a:r>
              <a:rPr lang="ru-RU" sz="28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исвоить почетное звание лауреата премии Правительства Российской Федерации в области науки и </a:t>
            </a:r>
            <a:r>
              <a:rPr lang="ru-RU" sz="28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техники </a:t>
            </a:r>
          </a:p>
          <a:p>
            <a:pPr>
              <a:spcBef>
                <a:spcPts val="1200"/>
              </a:spcBef>
            </a:pPr>
            <a:r>
              <a:rPr lang="ru-RU" sz="28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за </a:t>
            </a:r>
            <a:r>
              <a:rPr lang="ru-RU" sz="28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зработку, производство и внедрение отечественных радиоактивных источников для контактной лучевой </a:t>
            </a:r>
            <a:r>
              <a:rPr lang="ru-RU" sz="28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терапии в онкологии:</a:t>
            </a:r>
            <a:endParaRPr lang="ru-RU" sz="28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2400" b="1" u="sng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4078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s://03uro.ru/sites/default/files/edaimage/1000x461/x_2d0a6fa3b071eed1a8ac610b08ec03b4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376840"/>
            <a:ext cx="4031297" cy="2692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s://nethealth.ru/files/disease_articles/brachytherapy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881" y="3212976"/>
            <a:ext cx="3995936" cy="3236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://menquestions.ru/wp-content/uploads/mikrozerna-v-prostate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3368" y="376841"/>
            <a:ext cx="4420251" cy="2692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://www.ippe.ru/images/prc/news/2016/16-09-01-2b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3368" y="3212976"/>
            <a:ext cx="4420251" cy="3236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9387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395536" y="404664"/>
            <a:ext cx="8568952" cy="52937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>
                <a:latin typeface="Times New Roman" pitchFamily="18" charset="0"/>
                <a:cs typeface="Times New Roman" pitchFamily="18" charset="0"/>
              </a:rPr>
              <a:t>Программа по развитию </a:t>
            </a:r>
            <a:r>
              <a:rPr lang="ru-RU" sz="2800" dirty="0" err="1">
                <a:latin typeface="Times New Roman" pitchFamily="18" charset="0"/>
                <a:cs typeface="Times New Roman" pitchFamily="18" charset="0"/>
              </a:rPr>
              <a:t>ядернои</a:t>
            </a:r>
            <a:r>
              <a:rPr lang="ru-RU" sz="2800" dirty="0">
                <a:latin typeface="Times New Roman" pitchFamily="18" charset="0"/>
                <a:cs typeface="Times New Roman" pitchFamily="18" charset="0"/>
              </a:rPr>
              <a:t>̆ медицины в </a:t>
            </a:r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РФ</a:t>
            </a:r>
          </a:p>
          <a:p>
            <a:pPr algn="r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«Программа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по развитию </a:t>
            </a:r>
            <a:r>
              <a:rPr lang="ru-RU" sz="1400" dirty="0" err="1">
                <a:latin typeface="Times New Roman" pitchFamily="18" charset="0"/>
                <a:cs typeface="Times New Roman" pitchFamily="18" charset="0"/>
              </a:rPr>
              <a:t>ядернои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̆ медицины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1400" dirty="0" err="1" smtClean="0">
                <a:latin typeface="Times New Roman" pitchFamily="18" charset="0"/>
                <a:cs typeface="Times New Roman" pitchFamily="18" charset="0"/>
              </a:rPr>
              <a:t>России</a:t>
            </a:r>
            <a:r>
              <a:rPr lang="ru-RU" sz="1400" dirty="0" err="1">
                <a:latin typeface="Times New Roman" pitchFamily="18" charset="0"/>
                <a:cs typeface="Times New Roman" pitchFamily="18" charset="0"/>
              </a:rPr>
              <a:t>̆скои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̆ Федерации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»</a:t>
            </a:r>
          </a:p>
          <a:p>
            <a:pPr algn="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поручение Президента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Ф от 29 апреля 2010 года </a:t>
            </a:r>
          </a:p>
          <a:p>
            <a:endParaRPr lang="ru-RU" sz="14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4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4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4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2400" b="1" dirty="0" smtClean="0">
                <a:solidFill>
                  <a:srgbClr val="C00000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Задачи</a:t>
            </a:r>
            <a:r>
              <a:rPr lang="ru-RU" sz="2400" b="1" dirty="0">
                <a:solidFill>
                  <a:srgbClr val="C00000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: </a:t>
            </a:r>
            <a:endParaRPr lang="ru-RU" sz="2400" b="1" dirty="0" smtClean="0">
              <a:solidFill>
                <a:srgbClr val="C00000"/>
              </a:solidFill>
              <a:latin typeface="Times New Roman" pitchFamily="18" charset="0"/>
              <a:ea typeface="Arial" charset="0"/>
              <a:cs typeface="Times New Roman" pitchFamily="18" charset="0"/>
            </a:endParaRPr>
          </a:p>
          <a:p>
            <a:pPr algn="ctr"/>
            <a:endParaRPr lang="ru-RU" sz="2400" b="1" dirty="0">
              <a:solidFill>
                <a:srgbClr val="C00000"/>
              </a:solidFill>
              <a:latin typeface="Times New Roman" pitchFamily="18" charset="0"/>
              <a:ea typeface="Arial" charset="0"/>
              <a:cs typeface="Times New Roman" pitchFamily="18" charset="0"/>
            </a:endParaRPr>
          </a:p>
          <a:p>
            <a:pPr marL="342900" indent="-342900">
              <a:buClr>
                <a:srgbClr val="C00000"/>
              </a:buClr>
              <a:buFont typeface="Wingdings" pitchFamily="2" charset="2"/>
              <a:buChar char="Ø"/>
            </a:pP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Улучшение </a:t>
            </a:r>
            <a:r>
              <a:rPr lang="ru-RU" sz="2400" dirty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качества диагностики и лечения социально значимых заболеваний с использованием технологий </a:t>
            </a:r>
            <a:r>
              <a:rPr lang="ru-RU" sz="2400" dirty="0" err="1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ядернои</a:t>
            </a:r>
            <a:r>
              <a:rPr lang="ru-RU" sz="2400" dirty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̆ медицины </a:t>
            </a:r>
          </a:p>
          <a:p>
            <a:pPr marL="342900" indent="-342900">
              <a:buClr>
                <a:srgbClr val="C00000"/>
              </a:buClr>
              <a:buFont typeface="Wingdings" pitchFamily="2" charset="2"/>
              <a:buChar char="Ø"/>
            </a:pP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Организация </a:t>
            </a:r>
            <a:r>
              <a:rPr lang="ru-RU" sz="2400" dirty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производства </a:t>
            </a:r>
            <a:r>
              <a:rPr lang="ru-RU" sz="2400" dirty="0" err="1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отчественного</a:t>
            </a:r>
            <a:r>
              <a:rPr lang="ru-RU" sz="2400" dirty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 высокоэффективного оборудования и </a:t>
            </a:r>
            <a:r>
              <a:rPr lang="ru-RU" sz="2400" dirty="0" err="1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радиофармпрепаратов</a:t>
            </a:r>
            <a:r>
              <a:rPr lang="ru-RU" sz="2400" dirty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 для диагностики и лечения социально значимых заболеваний </a:t>
            </a:r>
            <a:endParaRPr lang="ru-RU" sz="2400" dirty="0" smtClean="0">
              <a:solidFill>
                <a:schemeClr val="bg1"/>
              </a:solidFill>
              <a:latin typeface="Times New Roman" pitchFamily="18" charset="0"/>
              <a:ea typeface="Arial" charset="0"/>
              <a:cs typeface="Times New Roman" pitchFamily="18" charset="0"/>
            </a:endParaRPr>
          </a:p>
          <a:p>
            <a:pPr marL="342900" indent="-342900">
              <a:buClr>
                <a:srgbClr val="C00000"/>
              </a:buClr>
              <a:buFont typeface="Wingdings" pitchFamily="2" charset="2"/>
              <a:buChar char="Ø"/>
            </a:pP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Создание </a:t>
            </a: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центров ядерной медицины</a:t>
            </a:r>
            <a:endParaRPr lang="ru-RU" sz="2400" dirty="0">
              <a:solidFill>
                <a:schemeClr val="bg1"/>
              </a:solidFill>
              <a:latin typeface="Times New Roman" pitchFamily="18" charset="0"/>
              <a:ea typeface="Arial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25606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-11313" y="1988840"/>
            <a:ext cx="9073008" cy="3767670"/>
          </a:xfrm>
        </p:spPr>
        <p:txBody>
          <a:bodyPr>
            <a:noAutofit/>
          </a:bodyPr>
          <a:lstStyle/>
          <a:p>
            <a:endParaRPr lang="ru-RU" b="1" i="1" u="sng" dirty="0" smtClean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r>
              <a:rPr lang="ru-RU" dirty="0">
                <a:solidFill>
                  <a:srgbClr val="C00000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Направление 1. </a:t>
            </a:r>
            <a:r>
              <a:rPr lang="ru-RU" dirty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Формирование инфраструктуры для ранней диагностики социально значимых заболевании</a:t>
            </a:r>
          </a:p>
          <a:p>
            <a:pPr algn="ctr"/>
            <a:r>
              <a:rPr lang="ru-RU" dirty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 </a:t>
            </a:r>
            <a:r>
              <a:rPr lang="ru-RU" dirty="0">
                <a:solidFill>
                  <a:srgbClr val="C00000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Направление 2  </a:t>
            </a:r>
            <a:r>
              <a:rPr lang="ru-RU" dirty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Формирование инфраструктуры для эффективного лечения социально значимых заболеваний</a:t>
            </a:r>
          </a:p>
          <a:p>
            <a:pPr algn="ctr"/>
            <a:r>
              <a:rPr lang="ru-RU" dirty="0">
                <a:solidFill>
                  <a:srgbClr val="C00000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Направление 3 </a:t>
            </a: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 </a:t>
            </a:r>
            <a:r>
              <a:rPr lang="ru-RU" dirty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Разработка новых технологических решений для ядерной медицины </a:t>
            </a:r>
          </a:p>
          <a:p>
            <a:pPr algn="ctr"/>
            <a:r>
              <a:rPr lang="ru-RU" dirty="0">
                <a:solidFill>
                  <a:srgbClr val="C00000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Направление 4  </a:t>
            </a:r>
            <a:r>
              <a:rPr lang="ru-RU" dirty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-Формирование </a:t>
            </a:r>
            <a:r>
              <a:rPr lang="ru-RU" dirty="0" err="1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необходимои</a:t>
            </a:r>
            <a:r>
              <a:rPr lang="ru-RU" dirty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 ̆инфраструктуры для производства РФП и обслуживания объектов </a:t>
            </a:r>
            <a:r>
              <a:rPr lang="ru-RU" dirty="0" err="1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ядернои</a:t>
            </a:r>
            <a:r>
              <a:rPr lang="ru-RU" dirty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̆ </a:t>
            </a: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медицины </a:t>
            </a:r>
            <a:endParaRPr lang="ru-RU" dirty="0">
              <a:solidFill>
                <a:schemeClr val="bg1"/>
              </a:solidFill>
              <a:latin typeface="Times New Roman" pitchFamily="18" charset="0"/>
              <a:ea typeface="Arial" charset="0"/>
              <a:cs typeface="Times New Roman" pitchFamily="18" charset="0"/>
            </a:endParaRPr>
          </a:p>
          <a:p>
            <a:pPr algn="ctr"/>
            <a:r>
              <a:rPr lang="ru-RU" dirty="0">
                <a:solidFill>
                  <a:srgbClr val="C00000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Направление 5</a:t>
            </a:r>
            <a:r>
              <a:rPr lang="ru-RU" dirty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 - Кадровое обеспечение </a:t>
            </a:r>
          </a:p>
        </p:txBody>
      </p:sp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1475656" y="404664"/>
            <a:ext cx="6402468" cy="512026"/>
          </a:xfrm>
        </p:spPr>
        <p:txBody>
          <a:bodyPr>
            <a:noAutofit/>
          </a:bodyPr>
          <a:lstStyle/>
          <a:p>
            <a:pPr algn="ctr"/>
            <a:r>
              <a:rPr lang="ru-RU" sz="2000" b="1" dirty="0" smtClean="0">
                <a:latin typeface="Times New Roman" pitchFamily="18" charset="0"/>
                <a:ea typeface="Arial" charset="0"/>
                <a:cs typeface="Times New Roman" pitchFamily="18" charset="0"/>
              </a:rPr>
              <a:t>Программа «развитие ядерной медицины в России»: приоритетные направления</a:t>
            </a:r>
            <a:endParaRPr lang="ru-RU" sz="2000" b="1" dirty="0">
              <a:latin typeface="Times New Roman" pitchFamily="18" charset="0"/>
              <a:ea typeface="Arial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4478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251520" y="1556792"/>
            <a:ext cx="8280920" cy="4824536"/>
          </a:xfrm>
        </p:spPr>
        <p:txBody>
          <a:bodyPr>
            <a:normAutofit/>
          </a:bodyPr>
          <a:lstStyle/>
          <a:p>
            <a:pPr algn="just">
              <a:buClr>
                <a:srgbClr val="C00000"/>
              </a:buClr>
              <a:buFont typeface="Wingdings" pitchFamily="2" charset="2"/>
              <a:buChar char="Ø"/>
            </a:pP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Целесообразно создание </a:t>
            </a:r>
            <a:r>
              <a:rPr lang="ru-RU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нескольких </a:t>
            </a:r>
            <a:r>
              <a:rPr lang="ru-RU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крупных центров ядерной медицины</a:t>
            </a: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в основных федеральных округах с прикреплением к ним 10-14 региональных онкологических учреждений в субъектах </a:t>
            </a: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оссийской Федерации (Москва</a:t>
            </a: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, Санкт-Петербург, Краснодар, Томск-Красноярск, Челябинск, Димитровград, Хабаровск-Владивосток)</a:t>
            </a:r>
            <a:endParaRPr lang="en-US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buClr>
                <a:srgbClr val="C00000"/>
              </a:buClr>
              <a:buFont typeface="Wingdings" pitchFamily="2" charset="2"/>
              <a:buChar char="Ø"/>
            </a:pPr>
            <a:endParaRPr lang="ru-RU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buClr>
                <a:srgbClr val="C00000"/>
              </a:buClr>
              <a:buFont typeface="Wingdings" pitchFamily="2" charset="2"/>
              <a:buChar char="Ø"/>
            </a:pP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одобные региональные центры должны иметь возможность реализации </a:t>
            </a:r>
            <a:r>
              <a:rPr lang="ru-RU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всего набора технологий передовых ядерных центров</a:t>
            </a: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. </a:t>
            </a:r>
          </a:p>
          <a:p>
            <a:pPr algn="just">
              <a:buClr>
                <a:srgbClr val="C00000"/>
              </a:buClr>
              <a:buFont typeface="Wingdings" pitchFamily="2" charset="2"/>
              <a:buChar char="Ø"/>
            </a:pPr>
            <a:endParaRPr lang="ru-RU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buClr>
                <a:srgbClr val="C00000"/>
              </a:buClr>
              <a:buFont typeface="Wingdings" pitchFamily="2" charset="2"/>
              <a:buChar char="Ø"/>
            </a:pP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ажным аргументом в пользу создания единых </a:t>
            </a:r>
            <a:r>
              <a:rPr lang="ru-RU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диагностико</a:t>
            </a: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-терапевтических центров ядерной медицины является </a:t>
            </a:r>
            <a:r>
              <a:rPr lang="ru-RU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возможность оптимизации процесса и стоимости инсталляции, технического обслуживания и обеспечения радиационной безопасности. </a:t>
            </a:r>
          </a:p>
          <a:p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7740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2"/>
          <p:cNvSpPr txBox="1">
            <a:spLocks/>
          </p:cNvSpPr>
          <p:nvPr/>
        </p:nvSpPr>
        <p:spPr>
          <a:xfrm>
            <a:off x="467544" y="1628800"/>
            <a:ext cx="7992888" cy="45363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20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8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6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just">
              <a:spcAft>
                <a:spcPts val="1200"/>
              </a:spcAft>
              <a:buClr>
                <a:srgbClr val="C00000"/>
              </a:buClr>
              <a:buFont typeface="Wingdings" pitchFamily="2" charset="2"/>
              <a:buChar char="Ø"/>
            </a:pP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беспечение </a:t>
            </a: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населения регионов наиболее </a:t>
            </a: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ысокотехнологичными</a:t>
            </a: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методами диагностики и терапии, массовое тиражирование которых в настоящий момент представляется невозможным</a:t>
            </a:r>
          </a:p>
          <a:p>
            <a:pPr algn="just">
              <a:spcAft>
                <a:spcPts val="1200"/>
              </a:spcAft>
              <a:buClr>
                <a:srgbClr val="C00000"/>
              </a:buClr>
              <a:buFont typeface="Wingdings" pitchFamily="2" charset="2"/>
              <a:buChar char="Ø"/>
            </a:pP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птимизация использования технологий ядерной медицины в реальных условиях конкретного Российского региона</a:t>
            </a:r>
          </a:p>
          <a:p>
            <a:pPr algn="just">
              <a:spcAft>
                <a:spcPts val="1200"/>
              </a:spcAft>
              <a:buClr>
                <a:srgbClr val="C00000"/>
              </a:buClr>
              <a:buFont typeface="Wingdings" pitchFamily="2" charset="2"/>
              <a:buChar char="Ø"/>
            </a:pP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зработка НИР по повышению доступности и качества </a:t>
            </a:r>
            <a:endParaRPr lang="ru-RU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spcAft>
                <a:spcPts val="1200"/>
              </a:spcAft>
              <a:buClr>
                <a:srgbClr val="C00000"/>
              </a:buClr>
              <a:buFont typeface="Wingdings" pitchFamily="2" charset="2"/>
              <a:buChar char="Ø"/>
            </a:pP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зможность </a:t>
            </a: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еализации всего набора технологий передовых ядерных </a:t>
            </a: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центров</a:t>
            </a:r>
            <a:endParaRPr lang="ru-RU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051720" y="476672"/>
            <a:ext cx="4572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ea typeface="Arial" charset="0"/>
                <a:cs typeface="Times New Roman" pitchFamily="18" charset="0"/>
              </a:rPr>
              <a:t>ЗАДАЧИ ЦЕНТРА ЯДЕРНОЙ МЕДИЦИНЫ 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618951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бъект 2"/>
          <p:cNvSpPr txBox="1">
            <a:spLocks/>
          </p:cNvSpPr>
          <p:nvPr/>
        </p:nvSpPr>
        <p:spPr>
          <a:xfrm>
            <a:off x="467544" y="188640"/>
            <a:ext cx="8208912" cy="86409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20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8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6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ТАНДАРТНЫЙ НАБОР ОСНАЩЕНИЯ </a:t>
            </a:r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ИПОВОГО ЦЕНТРА ЯДЕРНОЙ МЕДИЦИНЫ</a:t>
            </a:r>
            <a:endParaRPr lang="ru-RU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67544" y="1628800"/>
            <a:ext cx="8280920" cy="5170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+mj-lt"/>
              <a:buAutoNum type="arabicPeriod"/>
              <a:tabLst>
                <a:tab pos="495300" algn="l"/>
              </a:tabLst>
            </a:pPr>
            <a:r>
              <a:rPr 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Комплекс для протонной-лучевой терапии (1-3 рабочие кабины). 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+mj-lt"/>
              <a:buAutoNum type="arabicPeriod"/>
              <a:tabLst>
                <a:tab pos="495300" algn="l"/>
              </a:tabLst>
            </a:pPr>
            <a:r>
              <a:rPr 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Линейный ускоритель для дистанционной лучевой терапии из расчета 1 аппарат на 5 млн. жителей для данного региона (мин. количество 4 шт. на Центр).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+mj-lt"/>
              <a:buAutoNum type="arabicPeriod"/>
              <a:tabLst>
                <a:tab pos="495300" algn="l"/>
              </a:tabLst>
            </a:pPr>
            <a:r>
              <a:rPr 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Гамма–камера (1 шт. на Центр).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+mj-lt"/>
              <a:buAutoNum type="arabicPeriod"/>
              <a:tabLst>
                <a:tab pos="495300" algn="l"/>
              </a:tabLst>
            </a:pPr>
            <a:r>
              <a:rPr 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Аппарат для </a:t>
            </a:r>
            <a:r>
              <a:rPr lang="ru-RU" sz="1600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рахитерапии</a:t>
            </a:r>
            <a:r>
              <a:rPr 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(2-3 шт. на центр).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+mj-lt"/>
              <a:buAutoNum type="arabicPeriod"/>
              <a:tabLst>
                <a:tab pos="495300" algn="l"/>
              </a:tabLst>
            </a:pPr>
            <a:r>
              <a:rPr 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пециализированный топометрический КТ (1 шт. на Центр).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+mj-lt"/>
              <a:buAutoNum type="arabicPeriod"/>
              <a:tabLst>
                <a:tab pos="495300" algn="l"/>
              </a:tabLst>
            </a:pPr>
            <a:r>
              <a:rPr 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Диагностический КТ с декой для </a:t>
            </a:r>
            <a:r>
              <a:rPr lang="ru-RU" sz="1600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топометрии</a:t>
            </a:r>
            <a:r>
              <a:rPr 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(1 шт. на Центр).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+mj-lt"/>
              <a:buAutoNum type="arabicPeriod"/>
              <a:tabLst>
                <a:tab pos="495300" algn="l"/>
              </a:tabLst>
            </a:pPr>
            <a:r>
              <a:rPr 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МРТ  (1 шт. на Центр)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+mj-lt"/>
              <a:buAutoNum type="arabicPeriod"/>
              <a:tabLst>
                <a:tab pos="495300" algn="l"/>
              </a:tabLst>
            </a:pPr>
            <a:r>
              <a:rPr 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ФЭТ-КТ  (1 шт. на Центр).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+mj-lt"/>
              <a:buAutoNum type="arabicPeriod"/>
              <a:tabLst>
                <a:tab pos="495300" algn="l"/>
              </a:tabLst>
            </a:pPr>
            <a:r>
              <a:rPr 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лок активных коек для терапевтического использования с использованием РФП</a:t>
            </a:r>
            <a:r>
              <a:rPr lang="en-US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(в настоящее время в РФ около 125 активных коек, с учетом статистики заболеваемости и наличия оборудования должно быть увеличено минимум вдвое до 200-250).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+mj-lt"/>
              <a:buAutoNum type="arabicPeriod"/>
              <a:tabLst>
                <a:tab pos="495300" algn="l"/>
              </a:tabLst>
            </a:pPr>
            <a:r>
              <a:rPr 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ЭТ-Центр (</a:t>
            </a:r>
            <a:r>
              <a:rPr lang="ru-RU" sz="1600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Циклотрон+ПЭТ</a:t>
            </a:r>
            <a:r>
              <a:rPr 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сканеры, ПЭТ сканер + циклотрон из расчета 1 циклотрон на 4-8 ПЭТ сканеров).</a:t>
            </a:r>
            <a:endParaRPr lang="ru-RU" sz="16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3036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2"/>
          <p:cNvSpPr txBox="1">
            <a:spLocks/>
          </p:cNvSpPr>
          <p:nvPr/>
        </p:nvSpPr>
        <p:spPr>
          <a:xfrm>
            <a:off x="755576" y="1844824"/>
            <a:ext cx="7653536" cy="36198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20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8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6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C00000"/>
              </a:buClr>
              <a:buFont typeface="Wingdings" pitchFamily="2" charset="2"/>
              <a:buChar char="Ø"/>
            </a:pPr>
            <a:endParaRPr lang="ru-RU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buClr>
                <a:srgbClr val="C00000"/>
              </a:buClr>
              <a:buFont typeface="Wingdings" pitchFamily="2" charset="2"/>
              <a:buChar char="Ø"/>
            </a:pP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спользуемого </a:t>
            </a:r>
            <a:r>
              <a:rPr lang="ru-RU" dirty="0" err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диофармпрепарата</a:t>
            </a:r>
            <a:endParaRPr lang="ru-RU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buClr>
                <a:srgbClr val="C00000"/>
              </a:buClr>
              <a:buFont typeface="Wingdings" pitchFamily="2" charset="2"/>
              <a:buChar char="Ø"/>
            </a:pP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Количество выполняемых процедур в смену</a:t>
            </a:r>
          </a:p>
          <a:p>
            <a:pPr algn="ctr">
              <a:buClr>
                <a:srgbClr val="C00000"/>
              </a:buClr>
              <a:buFont typeface="Wingdings" pitchFamily="2" charset="2"/>
              <a:buChar char="Ø"/>
            </a:pP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тоимости конкретных образцов оборудования для диагностики и терапии</a:t>
            </a:r>
          </a:p>
          <a:p>
            <a:pPr algn="ctr">
              <a:buClr>
                <a:srgbClr val="C00000"/>
              </a:buClr>
              <a:buFont typeface="Wingdings" pitchFamily="2" charset="2"/>
              <a:buChar char="Ø"/>
            </a:pP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Конкретной клинической ситуации</a:t>
            </a:r>
            <a:endParaRPr lang="ru-RU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55576" y="116632"/>
            <a:ext cx="777686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СЕБЕСТОИМОСТЬ ЛЕЧЕБНЫХ И ДИАГНОСТИЧЕСКИХ ПРОЦЕДУР С ИСПОЛЬЗОВАНИЕМ ТЕХНОЛОГИЙ ЯДЕРНОЙ МЕДИЦИНЫ ЗАВИСИТ ОТ МНОГИХ ФАКТОРОВ: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4140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39552" y="116632"/>
            <a:ext cx="79928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ЭКОНОМИЧЕСКИЕ АСПЕКТЫ ИСПОЛЬЗОВАНИЯ ПЭТ/КТ</a:t>
            </a:r>
            <a:endParaRPr lang="ru-RU" sz="2400" b="1" dirty="0" smtClean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943785"/>
              </p:ext>
            </p:extLst>
          </p:nvPr>
        </p:nvGraphicFramePr>
        <p:xfrm>
          <a:off x="107504" y="1213735"/>
          <a:ext cx="8928993" cy="5242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85799"/>
                <a:gridCol w="1069341"/>
                <a:gridCol w="1902111"/>
                <a:gridCol w="1902900"/>
                <a:gridCol w="2268842"/>
              </a:tblGrid>
              <a:tr h="860001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Средняя стоимость</a:t>
                      </a:r>
                      <a:r>
                        <a:rPr lang="ru-RU" sz="14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</a:p>
                    <a:p>
                      <a:pPr algn="ctr"/>
                      <a:r>
                        <a:rPr lang="ru-RU" sz="14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оборудования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>
                    <a:solidFill>
                      <a:srgbClr val="0B638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Срок службы</a:t>
                      </a:r>
                    </a:p>
                    <a:p>
                      <a:pPr algn="ctr"/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>
                    <a:solidFill>
                      <a:srgbClr val="0B638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Стоимость обслуживания</a:t>
                      </a:r>
                    </a:p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/год</a:t>
                      </a:r>
                    </a:p>
                    <a:p>
                      <a:pPr algn="ctr"/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>
                    <a:solidFill>
                      <a:srgbClr val="0B638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Усредненная себестоимость исследования</a:t>
                      </a:r>
                    </a:p>
                    <a:p>
                      <a:pPr algn="ctr"/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>
                    <a:solidFill>
                      <a:srgbClr val="0B638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Амортизация</a:t>
                      </a:r>
                      <a:r>
                        <a:rPr lang="ru-RU" sz="14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оборудования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>
                    <a:solidFill>
                      <a:srgbClr val="0B638F"/>
                    </a:solidFill>
                  </a:tcPr>
                </a:tc>
              </a:tr>
              <a:tr h="80896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Циклотрон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в собственной защите) – 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5 млн. руб.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5 лет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-10% в год от стоимости</a:t>
                      </a:r>
                      <a:r>
                        <a:rPr lang="ru-RU" sz="14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/год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  <a:tc rowSpan="5"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2 </a:t>
                      </a:r>
                      <a:r>
                        <a:rPr lang="ru-RU" sz="1400" b="1" dirty="0" err="1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ыс</a:t>
                      </a: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b="1" dirty="0" err="1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уб</a:t>
                      </a:r>
                      <a:endParaRPr lang="ru-RU" sz="1400" b="1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</a:t>
                      </a:r>
                      <a:r>
                        <a:rPr lang="ru-RU" sz="14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из </a:t>
                      </a:r>
                      <a:r>
                        <a:rPr lang="ru-RU" sz="1400" b="1" baseline="0" dirty="0" err="1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чета</a:t>
                      </a:r>
                      <a:r>
                        <a:rPr lang="ru-RU" sz="14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15 исследований в смену на одном сканере)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 млн. руб.</a:t>
                      </a:r>
                      <a:r>
                        <a:rPr lang="ru-RU" sz="14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/год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</a:tr>
              <a:tr h="626291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одуль синтеза РФП) – 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9 млн. руб.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 лет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-10% в год от стоимости</a:t>
                      </a:r>
                      <a:r>
                        <a:rPr lang="ru-RU" sz="14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/год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  <a:tc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,3 млн. руб.</a:t>
                      </a:r>
                      <a:r>
                        <a:rPr lang="ru-RU" sz="14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/год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</a:tr>
              <a:tr h="991628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щитное оборудование для лаборатории синтеза) –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1 млн. руб.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 лет</a:t>
                      </a:r>
                    </a:p>
                    <a:p>
                      <a:pPr algn="ctr"/>
                      <a:endParaRPr lang="ru-RU" sz="14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-10% в год от стоимости</a:t>
                      </a:r>
                      <a:r>
                        <a:rPr lang="ru-RU" sz="14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/год</a:t>
                      </a:r>
                      <a:endParaRPr lang="ru-RU" sz="1400" b="1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  <a:tc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,7 млн. руб.</a:t>
                      </a:r>
                      <a:r>
                        <a:rPr lang="ru-RU" sz="14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/год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</a:tr>
              <a:tr h="80896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орудование для контроля качества РФП – 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6</a:t>
                      </a:r>
                      <a:r>
                        <a:rPr lang="ru-RU" sz="14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млн. руб.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 лет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-10% в год от стоимости</a:t>
                      </a:r>
                      <a:r>
                        <a:rPr lang="ru-RU" sz="14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/год</a:t>
                      </a:r>
                      <a:endParaRPr lang="ru-RU" sz="1400" b="1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  <a:tc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2,2 млн. руб.</a:t>
                      </a:r>
                      <a:r>
                        <a:rPr lang="ru-RU" sz="14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/год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</a:tr>
              <a:tr h="443623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ЭТ/КТ сканер – 100-210</a:t>
                      </a:r>
                      <a:r>
                        <a:rPr lang="ru-RU" sz="14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млн. руб.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 лет</a:t>
                      </a:r>
                    </a:p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-10% в год от стоимости</a:t>
                      </a:r>
                      <a:r>
                        <a:rPr lang="ru-RU" sz="14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/год</a:t>
                      </a:r>
                      <a:endParaRPr lang="ru-RU" sz="1400" b="1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  <a:tc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4,3-30 млн. руб.</a:t>
                      </a:r>
                      <a:r>
                        <a:rPr lang="ru-RU" sz="14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/год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7598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0" y="1412776"/>
            <a:ext cx="9144000" cy="4896544"/>
          </a:xfrm>
        </p:spPr>
        <p:txBody>
          <a:bodyPr>
            <a:normAutofit fontScale="92500" lnSpcReduction="10000"/>
          </a:bodyPr>
          <a:lstStyle/>
          <a:p>
            <a:endParaRPr lang="ru-RU" sz="2600" dirty="0" smtClean="0">
              <a:solidFill>
                <a:schemeClr val="bg1"/>
              </a:solidFill>
              <a:latin typeface="Times New Roman" pitchFamily="18" charset="0"/>
              <a:ea typeface="Arial" charset="0"/>
              <a:cs typeface="Times New Roman" pitchFamily="18" charset="0"/>
            </a:endParaRPr>
          </a:p>
          <a:p>
            <a:pPr algn="just">
              <a:buClr>
                <a:srgbClr val="C00000"/>
              </a:buClr>
              <a:buFont typeface="Wingdings" pitchFamily="2" charset="2"/>
              <a:buChar char="Ø"/>
            </a:pPr>
            <a:r>
              <a:rPr lang="ru-RU" sz="2600" b="1" dirty="0" smtClean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Ядерная </a:t>
            </a:r>
            <a:r>
              <a:rPr lang="ru-RU" sz="2600" b="1" dirty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медицина </a:t>
            </a:r>
            <a:r>
              <a:rPr lang="ru-RU" sz="2600" dirty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– направление </a:t>
            </a:r>
            <a:r>
              <a:rPr lang="ru-RU" sz="2600" dirty="0" err="1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современнои</a:t>
            </a:r>
            <a:r>
              <a:rPr lang="ru-RU" sz="2600" dirty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̆ медицины, использующее радиоактивные вещества и </a:t>
            </a:r>
            <a:r>
              <a:rPr lang="ru-RU" sz="2600" dirty="0" err="1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свойства</a:t>
            </a:r>
            <a:r>
              <a:rPr lang="ru-RU" sz="2600" dirty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 атомного ядра для диагностики и терапии в различных областях </a:t>
            </a:r>
            <a:r>
              <a:rPr lang="ru-RU" sz="2600" dirty="0" err="1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научнои</a:t>
            </a:r>
            <a:r>
              <a:rPr lang="ru-RU" sz="2600" dirty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̆ и </a:t>
            </a:r>
            <a:r>
              <a:rPr lang="ru-RU" sz="2600" dirty="0" err="1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практическои</a:t>
            </a:r>
            <a:r>
              <a:rPr lang="ru-RU" sz="2600" dirty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̆ медицины </a:t>
            </a:r>
            <a:endParaRPr lang="ru-RU" sz="2600" dirty="0" smtClean="0">
              <a:solidFill>
                <a:schemeClr val="bg1"/>
              </a:solidFill>
              <a:latin typeface="Times New Roman" pitchFamily="18" charset="0"/>
              <a:ea typeface="Arial" charset="0"/>
              <a:cs typeface="Times New Roman" pitchFamily="18" charset="0"/>
            </a:endParaRPr>
          </a:p>
          <a:p>
            <a:pPr lvl="0" algn="just">
              <a:buClr>
                <a:srgbClr val="C00000"/>
              </a:buClr>
              <a:buFont typeface="Wingdings" pitchFamily="2" charset="2"/>
              <a:buChar char="Ø"/>
            </a:pPr>
            <a:r>
              <a:rPr lang="ru-RU" sz="2600" b="1" dirty="0" smtClean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Ядерная </a:t>
            </a:r>
            <a:r>
              <a:rPr lang="ru-RU" sz="2600" b="1" dirty="0" smtClean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медицина </a:t>
            </a:r>
            <a:r>
              <a:rPr lang="ru-RU" sz="2600" dirty="0" smtClean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включает </a:t>
            </a:r>
            <a:r>
              <a:rPr lang="ru-RU" sz="2600" dirty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использование </a:t>
            </a:r>
            <a:r>
              <a:rPr lang="ru-RU" sz="2600" i="1" dirty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открытых радиоактивных изотопов</a:t>
            </a:r>
            <a:r>
              <a:rPr lang="ru-RU" sz="2600" dirty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 в медицинской практике: с диагностической – «</a:t>
            </a:r>
            <a:r>
              <a:rPr lang="ru-RU" sz="2600" dirty="0" err="1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радионуклидная</a:t>
            </a:r>
            <a:r>
              <a:rPr lang="ru-RU" sz="2600" dirty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 диагностика» или лечебной целью – «</a:t>
            </a:r>
            <a:r>
              <a:rPr lang="ru-RU" sz="2600" dirty="0" err="1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радионуклидная</a:t>
            </a:r>
            <a:r>
              <a:rPr lang="ru-RU" sz="2600" dirty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 терапия». </a:t>
            </a:r>
          </a:p>
          <a:p>
            <a:pPr algn="just">
              <a:buClr>
                <a:srgbClr val="C00000"/>
              </a:buClr>
              <a:buFont typeface="Wingdings" pitchFamily="2" charset="2"/>
              <a:buChar char="Ø"/>
            </a:pPr>
            <a:r>
              <a:rPr lang="ru-RU" sz="2600" b="1" dirty="0" smtClean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Радиотерапия </a:t>
            </a:r>
            <a:r>
              <a:rPr lang="ru-RU" sz="2600" dirty="0" smtClean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-использование </a:t>
            </a:r>
            <a:r>
              <a:rPr lang="ru-RU" sz="2600" dirty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с лечебной целью всех типов ионизирующих излучений, в том числе любые варианты дистанционной и </a:t>
            </a:r>
            <a:r>
              <a:rPr lang="ru-RU" sz="2600" dirty="0" err="1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брахитерапии</a:t>
            </a:r>
            <a:r>
              <a:rPr lang="ru-RU" sz="2600" dirty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 </a:t>
            </a:r>
            <a:endParaRPr lang="ru-RU" sz="2600" dirty="0" smtClean="0">
              <a:solidFill>
                <a:schemeClr val="bg1"/>
              </a:solidFill>
              <a:latin typeface="Times New Roman" pitchFamily="18" charset="0"/>
              <a:ea typeface="Arial" charset="0"/>
              <a:cs typeface="Times New Roman" pitchFamily="18" charset="0"/>
            </a:endParaRPr>
          </a:p>
          <a:p>
            <a:endParaRPr lang="ru-RU" sz="29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179513" y="152797"/>
            <a:ext cx="8640960" cy="1203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017" tIns="48009" rIns="96017" bIns="48009" numCol="1" anchor="ctr" anchorCtr="0" compatLnSpc="1">
            <a:prstTxWarp prst="textNoShape">
              <a:avLst/>
            </a:prstTxWarp>
          </a:bodyPr>
          <a:lstStyle>
            <a:lvl1pPr algn="ctr" defTabSz="960438" rtl="0" eaLnBrk="0" fontAlgn="base" hangingPunct="0">
              <a:spcBef>
                <a:spcPct val="0"/>
              </a:spcBef>
              <a:spcAft>
                <a:spcPct val="0"/>
              </a:spcAft>
              <a:defRPr sz="46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defTabSz="96043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defTabSz="96043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defTabSz="96043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defTabSz="96043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defTabSz="96043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defTabSz="96043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defTabSz="96043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defTabSz="96043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sz="2800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ЯДЕРНАЯ МЕДИЦИНА </a:t>
            </a:r>
            <a:endParaRPr lang="ru-RU" sz="6000" dirty="0"/>
          </a:p>
        </p:txBody>
      </p:sp>
    </p:spTree>
    <p:extLst>
      <p:ext uri="{BB962C8B-B14F-4D97-AF65-F5344CB8AC3E}">
        <p14:creationId xmlns:p14="http://schemas.microsoft.com/office/powerpoint/2010/main" val="3176156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79512" y="188640"/>
            <a:ext cx="87129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Экономические аспекты использования</a:t>
            </a:r>
          </a:p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ОФЭКТ/КТ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9763642"/>
              </p:ext>
            </p:extLst>
          </p:nvPr>
        </p:nvGraphicFramePr>
        <p:xfrm>
          <a:off x="179512" y="1916832"/>
          <a:ext cx="8784974" cy="38884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6995"/>
                <a:gridCol w="1052093"/>
                <a:gridCol w="1816228"/>
                <a:gridCol w="2402663"/>
                <a:gridCol w="1756995"/>
              </a:tblGrid>
              <a:tr h="2060748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Средняя стоимость</a:t>
                      </a:r>
                      <a:r>
                        <a:rPr lang="ru-RU" sz="14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</a:p>
                    <a:p>
                      <a:pPr algn="ctr"/>
                      <a:r>
                        <a:rPr lang="ru-RU" sz="14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оборудования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>
                    <a:solidFill>
                      <a:srgbClr val="0066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Срок службы</a:t>
                      </a:r>
                    </a:p>
                    <a:p>
                      <a:pPr algn="ctr"/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>
                    <a:solidFill>
                      <a:srgbClr val="0066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Стоимость обслуживания</a:t>
                      </a:r>
                    </a:p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/год</a:t>
                      </a:r>
                    </a:p>
                    <a:p>
                      <a:pPr algn="ctr"/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>
                    <a:solidFill>
                      <a:srgbClr val="0066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Усредненная себестоимость исследования</a:t>
                      </a:r>
                    </a:p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(</a:t>
                      </a:r>
                      <a:r>
                        <a:rPr lang="ru-RU" sz="14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зависит от нозологии, кол-ва сеансов, локализации)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>
                    <a:solidFill>
                      <a:srgbClr val="0066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Амортизация</a:t>
                      </a:r>
                      <a:r>
                        <a:rPr lang="ru-RU" sz="14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оборудования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>
                    <a:solidFill>
                      <a:srgbClr val="006699"/>
                    </a:solidFill>
                  </a:tcPr>
                </a:tc>
              </a:tr>
              <a:tr h="1827684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ОФЭКТ/КТ </a:t>
                      </a:r>
                    </a:p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сканер – </a:t>
                      </a:r>
                    </a:p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80-85</a:t>
                      </a:r>
                    </a:p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 млн. руб.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0 лет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7-10% в год от стоимости</a:t>
                      </a:r>
                      <a:r>
                        <a:rPr lang="ru-RU" sz="14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/год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127 - 2566 руб.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1,4</a:t>
                      </a:r>
                      <a:r>
                        <a:rPr lang="ru-RU" sz="14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-12,1млн. руб./год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81666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37516" y="187186"/>
            <a:ext cx="88569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ЭКОНОМИЧЕСКИЕ АСПЕКТЫ ИСПОЛЬЗОВАНИЯ ПРОТОННОЙ ТЕРАПИИ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267179"/>
              </p:ext>
            </p:extLst>
          </p:nvPr>
        </p:nvGraphicFramePr>
        <p:xfrm>
          <a:off x="179512" y="1916832"/>
          <a:ext cx="8856985" cy="38810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71397"/>
                <a:gridCol w="1060717"/>
                <a:gridCol w="2136438"/>
                <a:gridCol w="2016224"/>
                <a:gridCol w="1872209"/>
              </a:tblGrid>
              <a:tr h="1642207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Средняя стоимость</a:t>
                      </a:r>
                      <a:r>
                        <a:rPr lang="ru-RU" sz="14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</a:p>
                    <a:p>
                      <a:pPr algn="ctr"/>
                      <a:r>
                        <a:rPr lang="ru-RU" sz="14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оборудования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>
                    <a:solidFill>
                      <a:srgbClr val="0B638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Срок службы</a:t>
                      </a:r>
                    </a:p>
                  </a:txBody>
                  <a:tcPr marL="68580" marR="68580" anchor="ctr">
                    <a:solidFill>
                      <a:srgbClr val="0B638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Стоимость обслуживания</a:t>
                      </a:r>
                    </a:p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/год</a:t>
                      </a:r>
                    </a:p>
                  </a:txBody>
                  <a:tcPr marL="68580" marR="68580" anchor="ctr">
                    <a:solidFill>
                      <a:srgbClr val="0B638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Усредненная себестоимость исследования</a:t>
                      </a:r>
                    </a:p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(</a:t>
                      </a:r>
                      <a:r>
                        <a:rPr lang="ru-RU" sz="14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зависит от нозологии, кол-ва сеансов, локализации)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>
                    <a:solidFill>
                      <a:srgbClr val="0B638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Амортизация</a:t>
                      </a:r>
                      <a:r>
                        <a:rPr lang="ru-RU" sz="14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оборудования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>
                    <a:solidFill>
                      <a:srgbClr val="0B638F"/>
                    </a:solidFill>
                  </a:tcPr>
                </a:tc>
              </a:tr>
              <a:tr h="2238794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600</a:t>
                      </a:r>
                      <a:r>
                        <a:rPr lang="ru-RU" sz="16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млн руб.</a:t>
                      </a:r>
                    </a:p>
                    <a:p>
                      <a:pPr algn="ctr"/>
                      <a:r>
                        <a:rPr lang="ru-RU" sz="16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(</a:t>
                      </a:r>
                      <a:r>
                        <a:rPr lang="ru-RU" sz="1600" b="1" baseline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отеч</a:t>
                      </a:r>
                      <a:r>
                        <a:rPr lang="ru-RU" sz="16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. вариант</a:t>
                      </a:r>
                    </a:p>
                    <a:p>
                      <a:pPr algn="ctr"/>
                      <a:endParaRPr lang="ru-RU" sz="1600" b="1" baseline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,2 млрд. руб.</a:t>
                      </a:r>
                    </a:p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(импортный)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600" b="1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600" b="1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  7 лет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4-10 </a:t>
                      </a:r>
                      <a:r>
                        <a:rPr lang="en-US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r>
                        <a:rPr lang="ru-RU" sz="16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от стоимости </a:t>
                      </a:r>
                    </a:p>
                    <a:p>
                      <a:pPr algn="ctr"/>
                      <a:r>
                        <a:rPr lang="ru-RU" sz="16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оборудования/год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600" b="1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600 тыс. руб. –</a:t>
                      </a:r>
                    </a:p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700 тыс. руб.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</a:p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2,3</a:t>
                      </a:r>
                      <a:r>
                        <a:rPr lang="en-US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13631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90394" y="327019"/>
            <a:ext cx="87849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2000" b="1"/>
            </a:lvl1pPr>
          </a:lstStyle>
          <a:p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ЭКОНОМИЧЕСКИЕ АСПЕКТЫ ИСПОЛЬЗОВАНИЯ</a:t>
            </a:r>
          </a:p>
          <a:p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ГАММА-НОЖА</a:t>
            </a:r>
            <a:endParaRPr lang="ru-RU" sz="24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9704859"/>
              </p:ext>
            </p:extLst>
          </p:nvPr>
        </p:nvGraphicFramePr>
        <p:xfrm>
          <a:off x="179513" y="2084928"/>
          <a:ext cx="8784975" cy="357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6995"/>
                <a:gridCol w="1052094"/>
                <a:gridCol w="1820120"/>
                <a:gridCol w="2398771"/>
                <a:gridCol w="1756995"/>
              </a:tblGrid>
              <a:tr h="1778000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Средняя стоимость</a:t>
                      </a:r>
                      <a:r>
                        <a:rPr lang="ru-RU" sz="14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</a:p>
                    <a:p>
                      <a:pPr algn="ctr"/>
                      <a:r>
                        <a:rPr lang="ru-RU" sz="14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оборудования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>
                    <a:solidFill>
                      <a:srgbClr val="0B638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Срок службы</a:t>
                      </a:r>
                    </a:p>
                  </a:txBody>
                  <a:tcPr marL="68580" marR="68580" anchor="ctr">
                    <a:solidFill>
                      <a:srgbClr val="0B638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Стоимость обслуживания</a:t>
                      </a:r>
                    </a:p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/год</a:t>
                      </a:r>
                    </a:p>
                  </a:txBody>
                  <a:tcPr marL="68580" marR="68580" anchor="ctr">
                    <a:solidFill>
                      <a:srgbClr val="0B638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Усредненная себестоимость исследования</a:t>
                      </a:r>
                    </a:p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(</a:t>
                      </a:r>
                      <a:r>
                        <a:rPr lang="ru-RU" sz="14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зависит от нозологии, кол-ва сеансов, локализации)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>
                    <a:solidFill>
                      <a:srgbClr val="0B638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Амортизация</a:t>
                      </a:r>
                      <a:r>
                        <a:rPr lang="ru-RU" sz="14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оборудования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>
                    <a:solidFill>
                      <a:srgbClr val="0B638F"/>
                    </a:solidFill>
                  </a:tcPr>
                </a:tc>
              </a:tr>
              <a:tr h="144272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350-400</a:t>
                      </a:r>
                    </a:p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 млн.</a:t>
                      </a:r>
                      <a:r>
                        <a:rPr lang="ru-RU" sz="16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руб.</a:t>
                      </a:r>
                      <a:endParaRPr lang="ru-RU" sz="1600" b="1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600" b="1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7 лет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3-4 </a:t>
                      </a:r>
                      <a:r>
                        <a:rPr lang="en-US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r>
                        <a:rPr lang="ru-RU" sz="16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от стоимости </a:t>
                      </a:r>
                    </a:p>
                    <a:p>
                      <a:pPr algn="ctr"/>
                      <a:r>
                        <a:rPr lang="ru-RU" sz="16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оборудования /год</a:t>
                      </a:r>
                    </a:p>
                    <a:p>
                      <a:pPr algn="ctr"/>
                      <a:endParaRPr lang="ru-RU" sz="1600" b="1" baseline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6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Перезарядка</a:t>
                      </a:r>
                    </a:p>
                    <a:p>
                      <a:pPr algn="ctr"/>
                      <a:r>
                        <a:rPr lang="ru-RU" sz="16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1 раз в 6 лет</a:t>
                      </a:r>
                    </a:p>
                    <a:p>
                      <a:pPr algn="ctr"/>
                      <a:r>
                        <a:rPr lang="ru-RU" sz="16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(45 млн/</a:t>
                      </a:r>
                      <a:r>
                        <a:rPr lang="ru-RU" sz="1600" b="1" baseline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руб</a:t>
                      </a:r>
                      <a:r>
                        <a:rPr lang="ru-RU" sz="16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)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30 тыс. руб.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4%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801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03013" y="260648"/>
            <a:ext cx="88569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ЭКОНОМИЧЕСКИЕ АСПЕКТЫ ИСПОЛЬЗОВАНИЯ ЛУЧЕВОЙ ТЕРАПИИ НА ЛИНЕЙНЫХ УСКОРИТЕЛЯХ</a:t>
            </a:r>
            <a:endParaRPr lang="ru-RU" sz="2000" b="1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9908151"/>
              </p:ext>
            </p:extLst>
          </p:nvPr>
        </p:nvGraphicFramePr>
        <p:xfrm>
          <a:off x="239016" y="1844824"/>
          <a:ext cx="8784975" cy="38687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6995"/>
                <a:gridCol w="1052094"/>
                <a:gridCol w="1820120"/>
                <a:gridCol w="2398771"/>
                <a:gridCol w="1756995"/>
              </a:tblGrid>
              <a:tr h="2135768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Средняя стоимость</a:t>
                      </a:r>
                      <a:r>
                        <a:rPr lang="ru-RU" sz="14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</a:p>
                    <a:p>
                      <a:pPr algn="ctr"/>
                      <a:r>
                        <a:rPr lang="ru-RU" sz="14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оборудования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>
                    <a:solidFill>
                      <a:srgbClr val="0B638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Срок службы</a:t>
                      </a:r>
                    </a:p>
                  </a:txBody>
                  <a:tcPr marL="68580" marR="68580" anchor="ctr">
                    <a:solidFill>
                      <a:srgbClr val="0B638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Стоимость обслуживания</a:t>
                      </a:r>
                    </a:p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/год</a:t>
                      </a:r>
                    </a:p>
                  </a:txBody>
                  <a:tcPr marL="68580" marR="68580" anchor="ctr">
                    <a:solidFill>
                      <a:srgbClr val="0B638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Усредненная себестоимость исследования</a:t>
                      </a:r>
                    </a:p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(</a:t>
                      </a:r>
                      <a:r>
                        <a:rPr lang="ru-RU" sz="14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зависит от нозологии, кол-ва сеансов, локализации)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>
                    <a:solidFill>
                      <a:srgbClr val="0B638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Амортизация</a:t>
                      </a:r>
                      <a:r>
                        <a:rPr lang="ru-RU" sz="14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оборудования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>
                    <a:solidFill>
                      <a:srgbClr val="0B638F"/>
                    </a:solidFill>
                  </a:tcPr>
                </a:tc>
              </a:tr>
              <a:tr h="1733024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350-450</a:t>
                      </a:r>
                    </a:p>
                    <a:p>
                      <a:pPr algn="ctr"/>
                      <a:r>
                        <a:rPr lang="en-US" sz="16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6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млн </a:t>
                      </a:r>
                      <a:r>
                        <a:rPr lang="ru-RU" sz="1600" b="1" baseline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руб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600" b="1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7 лет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4-7 </a:t>
                      </a:r>
                      <a:r>
                        <a:rPr lang="en-US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r>
                        <a:rPr lang="ru-RU" sz="16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от стоимости </a:t>
                      </a:r>
                    </a:p>
                    <a:p>
                      <a:pPr algn="ctr"/>
                      <a:r>
                        <a:rPr lang="ru-RU" sz="16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оборудования /год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  234 </a:t>
                      </a:r>
                      <a:r>
                        <a:rPr lang="ru-RU" sz="1600" b="1" dirty="0" err="1" smtClean="0">
                          <a:latin typeface="Times New Roman" pitchFamily="18" charset="0"/>
                          <a:cs typeface="Times New Roman" pitchFamily="18" charset="0"/>
                        </a:rPr>
                        <a:t>тыс</a:t>
                      </a:r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600" b="1" dirty="0" err="1" smtClean="0">
                          <a:latin typeface="Times New Roman" pitchFamily="18" charset="0"/>
                          <a:cs typeface="Times New Roman" pitchFamily="18" charset="0"/>
                        </a:rPr>
                        <a:t>руб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4,3 </a:t>
                      </a:r>
                      <a:r>
                        <a:rPr lang="en-US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76190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07504" y="1556792"/>
            <a:ext cx="8640960" cy="49090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indent="-457200" algn="just" defTabSz="457200">
              <a:spcBef>
                <a:spcPct val="20000"/>
              </a:spcBef>
              <a:spcAft>
                <a:spcPts val="600"/>
              </a:spcAft>
              <a:buClr>
                <a:srgbClr val="C00000"/>
              </a:buClr>
              <a:buSzPct val="80000"/>
              <a:buFont typeface="Wingdings" pitchFamily="2" charset="2"/>
              <a:buChar char="Ø"/>
              <a:tabLst>
                <a:tab pos="495300" algn="l"/>
              </a:tabLst>
            </a:pP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Центр </a:t>
            </a: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должен располагаться </a:t>
            </a:r>
            <a:r>
              <a:rPr lang="ru-RU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близи крупных или в крупных медицинских учреждениях региона </a:t>
            </a: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 развитой инфраструктурой, достаточной кадровой и материальной базой. </a:t>
            </a:r>
          </a:p>
          <a:p>
            <a:pPr lvl="1" indent="-457200" algn="just" defTabSz="457200">
              <a:spcBef>
                <a:spcPct val="20000"/>
              </a:spcBef>
              <a:spcAft>
                <a:spcPts val="600"/>
              </a:spcAft>
              <a:buClr>
                <a:srgbClr val="C00000"/>
              </a:buClr>
              <a:buSzPct val="80000"/>
              <a:buFont typeface="Wingdings" pitchFamily="2" charset="2"/>
              <a:buChar char="Ø"/>
              <a:tabLst>
                <a:tab pos="495300" algn="l"/>
              </a:tabLst>
            </a:pP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Центр должен иметь </a:t>
            </a:r>
            <a:r>
              <a:rPr lang="ru-RU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наиболее удобную транспортную доступность </a:t>
            </a: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для населения </a:t>
            </a: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егиона.</a:t>
            </a:r>
            <a:endParaRPr lang="ru-RU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indent="-457200" algn="just" defTabSz="457200">
              <a:spcBef>
                <a:spcPct val="20000"/>
              </a:spcBef>
              <a:spcAft>
                <a:spcPts val="600"/>
              </a:spcAft>
              <a:buClr>
                <a:srgbClr val="C00000"/>
              </a:buClr>
              <a:buSzPct val="80000"/>
              <a:buFont typeface="Wingdings" pitchFamily="2" charset="2"/>
              <a:buChar char="Ø"/>
              <a:tabLst>
                <a:tab pos="495300" algn="l"/>
              </a:tabLst>
            </a:pP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Центр должен находиться в привлекательном для специалистов месте </a:t>
            </a:r>
            <a:r>
              <a:rPr lang="ru-RU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(социальная инфраструктура для сотрудников). </a:t>
            </a:r>
          </a:p>
          <a:p>
            <a:pPr lvl="1" indent="-457200" algn="just" defTabSz="457200">
              <a:spcBef>
                <a:spcPct val="20000"/>
              </a:spcBef>
              <a:spcAft>
                <a:spcPts val="600"/>
              </a:spcAft>
              <a:buClr>
                <a:srgbClr val="C00000"/>
              </a:buClr>
              <a:buSzPct val="80000"/>
              <a:buFont typeface="Wingdings" pitchFamily="2" charset="2"/>
              <a:buChar char="Ø"/>
              <a:tabLst>
                <a:tab pos="495300" algn="l"/>
              </a:tabLst>
            </a:pP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Центр должен располагаться </a:t>
            </a:r>
            <a:r>
              <a:rPr lang="ru-RU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в привлекательном для инвесторов </a:t>
            </a:r>
            <a:r>
              <a:rPr lang="ru-RU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регионе</a:t>
            </a: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ru-RU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indent="-457200" algn="just" defTabSz="457200">
              <a:spcBef>
                <a:spcPct val="20000"/>
              </a:spcBef>
              <a:spcAft>
                <a:spcPts val="600"/>
              </a:spcAft>
              <a:buClr>
                <a:srgbClr val="C00000"/>
              </a:buClr>
              <a:buSzPct val="80000"/>
              <a:buFont typeface="Wingdings" pitchFamily="2" charset="2"/>
              <a:buChar char="Ø"/>
              <a:tabLst>
                <a:tab pos="495300" algn="l"/>
              </a:tabLst>
            </a:pP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Центр, по возможности,  должен располагаться </a:t>
            </a:r>
            <a:r>
              <a:rPr lang="ru-RU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вблизи </a:t>
            </a:r>
            <a:r>
              <a:rPr lang="ru-RU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научно-исследовательских и научно-практических учреждений,</a:t>
            </a: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занимающихся развитием ядерных технологий в</a:t>
            </a: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вязи с </a:t>
            </a: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тем, </a:t>
            </a: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что развитие ядерной медицины в России без формирования собственной физико-технической и технологической базы представляется </a:t>
            </a: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есперспективным.</a:t>
            </a:r>
            <a:endParaRPr lang="ru-RU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indent="-457200" algn="just" defTabSz="457200">
              <a:spcBef>
                <a:spcPct val="20000"/>
              </a:spcBef>
              <a:spcAft>
                <a:spcPts val="600"/>
              </a:spcAft>
              <a:buClr>
                <a:srgbClr val="C00000"/>
              </a:buClr>
              <a:buSzPct val="80000"/>
              <a:buFont typeface="Wingdings" pitchFamily="2" charset="2"/>
              <a:buChar char="Ø"/>
              <a:tabLst>
                <a:tab pos="495300" algn="l"/>
              </a:tabLst>
            </a:pP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инадлежность Центра ядерной медицины к конкретному ведомству или субъекту федерации  </a:t>
            </a:r>
            <a:r>
              <a:rPr lang="ru-RU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не имеет первостепенного значения.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95536" y="332656"/>
            <a:ext cx="835292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Aft>
                <a:spcPts val="0"/>
              </a:spcAft>
              <a:tabLst>
                <a:tab pos="457200" algn="l"/>
              </a:tabLst>
            </a:pPr>
            <a:r>
              <a:rPr lang="ru-RU" sz="2000" b="1" dirty="0" smtClean="0">
                <a:latin typeface="Times New Roman" pitchFamily="18" charset="0"/>
                <a:ea typeface="Times New Roman" charset="0"/>
                <a:cs typeface="Times New Roman" pitchFamily="18" charset="0"/>
              </a:rPr>
              <a:t>ПРИНЦИПЫ ВЫБОРА И ТЕРРИТОРИАЛЬНОГО РАЗМЕЩЕНИЯ</a:t>
            </a:r>
          </a:p>
          <a:p>
            <a:pPr lvl="0" algn="ctr">
              <a:spcAft>
                <a:spcPts val="0"/>
              </a:spcAft>
              <a:tabLst>
                <a:tab pos="457200" algn="l"/>
              </a:tabLst>
            </a:pPr>
            <a:r>
              <a:rPr lang="ru-RU" sz="2000" b="1" dirty="0" smtClean="0">
                <a:latin typeface="Times New Roman" pitchFamily="18" charset="0"/>
                <a:ea typeface="Times New Roman" charset="0"/>
                <a:cs typeface="Times New Roman" pitchFamily="18" charset="0"/>
              </a:rPr>
              <a:t>ЦЕНТРОВ ЯДЕРНОЙ МЕДИЦИНЫ: </a:t>
            </a:r>
            <a:endParaRPr lang="ru-RU" sz="2000" b="1" dirty="0">
              <a:latin typeface="Times New Roman" pitchFamily="18" charset="0"/>
              <a:ea typeface="Times New Roman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9356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76915" y="0"/>
            <a:ext cx="8712968" cy="1524000"/>
          </a:xfrm>
        </p:spPr>
        <p:txBody>
          <a:bodyPr>
            <a:no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ea typeface="+mn-ea"/>
                <a:cs typeface="Times New Roman" pitchFamily="18" charset="0"/>
              </a:rPr>
              <a:t>Штаты </a:t>
            </a:r>
            <a:r>
              <a:rPr lang="ru-RU" sz="2400" b="1" dirty="0" smtClean="0">
                <a:latin typeface="Times New Roman" pitchFamily="18" charset="0"/>
                <a:ea typeface="+mn-ea"/>
                <a:cs typeface="Times New Roman" pitchFamily="18" charset="0"/>
              </a:rPr>
              <a:t>радиотерапевтической Службы</a:t>
            </a:r>
            <a:br>
              <a:rPr lang="ru-RU" sz="2400" b="1" dirty="0" smtClean="0">
                <a:latin typeface="Times New Roman" pitchFamily="18" charset="0"/>
                <a:ea typeface="+mn-ea"/>
                <a:cs typeface="Times New Roman" pitchFamily="18" charset="0"/>
              </a:rPr>
            </a:br>
            <a:r>
              <a:rPr lang="ru-RU" sz="2400" b="1" dirty="0" smtClean="0">
                <a:latin typeface="Times New Roman" pitchFamily="18" charset="0"/>
                <a:ea typeface="+mn-ea"/>
                <a:cs typeface="Times New Roman" pitchFamily="18" charset="0"/>
              </a:rPr>
              <a:t>в настоящее время</a:t>
            </a:r>
            <a:endParaRPr lang="ru-RU" sz="2400" b="1" dirty="0"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467544" y="1052736"/>
            <a:ext cx="8568952" cy="2736304"/>
          </a:xfrm>
          <a:noFill/>
          <a:ln w="38100">
            <a:noFill/>
          </a:ln>
        </p:spPr>
        <p:txBody>
          <a:bodyPr>
            <a:normAutofit/>
          </a:bodyPr>
          <a:lstStyle/>
          <a:p>
            <a:pPr algn="ctr">
              <a:buClr>
                <a:srgbClr val="C00000"/>
              </a:buClr>
            </a:pPr>
            <a:r>
              <a:rPr lang="ru-RU" sz="2800" b="1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диотерапевтов</a:t>
            </a:r>
            <a:r>
              <a:rPr lang="ru-RU" sz="28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28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28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28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	-</a:t>
            </a:r>
            <a:r>
              <a:rPr lang="ru-RU" sz="28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	1069 чел.</a:t>
            </a:r>
          </a:p>
          <a:p>
            <a:pPr algn="ctr">
              <a:buClr>
                <a:srgbClr val="C00000"/>
              </a:buClr>
            </a:pPr>
            <a:r>
              <a:rPr lang="ru-RU" sz="28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Медицинских физиков</a:t>
            </a:r>
            <a:r>
              <a:rPr lang="ru-RU" sz="28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28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	-</a:t>
            </a:r>
            <a:r>
              <a:rPr lang="ru-RU" sz="28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	  384 чел.</a:t>
            </a:r>
          </a:p>
          <a:p>
            <a:pPr algn="ctr">
              <a:buClr>
                <a:srgbClr val="C00000"/>
              </a:buClr>
            </a:pPr>
            <a:r>
              <a:rPr lang="ru-RU" sz="28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ператоров					</a:t>
            </a:r>
            <a:r>
              <a:rPr lang="ru-RU" sz="28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	-</a:t>
            </a:r>
            <a:r>
              <a:rPr lang="ru-RU" sz="28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	  980 чел.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" y="3410615"/>
            <a:ext cx="911753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реднеевропейские показатели кадровой оснащенности радиотерапии при использовании радиотерапевтических </a:t>
            </a:r>
            <a:r>
              <a:rPr lang="ru-RU" sz="20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установок из </a:t>
            </a:r>
            <a:r>
              <a:rPr lang="ru-RU" sz="20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счета 1 на 5 млн </a:t>
            </a:r>
            <a:r>
              <a:rPr lang="ru-RU" sz="20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населения:</a:t>
            </a:r>
            <a:endParaRPr lang="ru-RU" sz="2000" b="1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2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Число </a:t>
            </a:r>
            <a:r>
              <a:rPr lang="ru-RU" sz="2000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диотерапевтов</a:t>
            </a:r>
            <a:r>
              <a:rPr lang="ru-RU" sz="20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– </a:t>
            </a:r>
            <a:r>
              <a:rPr lang="ru-RU" sz="2000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12,8 чел</a:t>
            </a:r>
            <a:r>
              <a:rPr lang="ru-RU" sz="20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. на </a:t>
            </a:r>
            <a:r>
              <a:rPr lang="ru-RU" sz="2000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1 млн.</a:t>
            </a:r>
            <a:r>
              <a:rPr lang="ru-RU" sz="20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населения </a:t>
            </a:r>
            <a:r>
              <a:rPr lang="ru-RU" sz="2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sz="20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1800 чел)</a:t>
            </a:r>
          </a:p>
          <a:p>
            <a:pPr algn="ctr"/>
            <a:r>
              <a:rPr lang="ru-RU" sz="2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  </a:t>
            </a:r>
            <a:r>
              <a:rPr lang="ru-RU" sz="2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Число </a:t>
            </a:r>
            <a:r>
              <a:rPr lang="ru-RU" sz="20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медицинских физиков – </a:t>
            </a:r>
            <a:r>
              <a:rPr lang="ru-RU" sz="2000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7,6 чел</a:t>
            </a:r>
            <a:r>
              <a:rPr lang="ru-RU" sz="20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. на </a:t>
            </a:r>
            <a:r>
              <a:rPr lang="ru-RU" sz="2000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1 млн</a:t>
            </a:r>
            <a:r>
              <a:rPr lang="ru-RU" sz="20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. населения </a:t>
            </a:r>
            <a:endParaRPr lang="ru-RU" sz="20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2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sz="2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ибл</a:t>
            </a:r>
            <a:r>
              <a:rPr lang="ru-RU" sz="20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r>
              <a:rPr lang="ru-RU" sz="2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1100 чел.) </a:t>
            </a:r>
          </a:p>
          <a:p>
            <a:pPr algn="ctr"/>
            <a:r>
              <a:rPr lang="ru-RU" sz="2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ru-RU" sz="2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Число </a:t>
            </a:r>
            <a:r>
              <a:rPr lang="ru-RU" sz="2000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диотехнологов</a:t>
            </a:r>
            <a:r>
              <a:rPr lang="ru-RU" sz="20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(операторов) – </a:t>
            </a:r>
            <a:endParaRPr lang="ru-RU" sz="20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2000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25 </a:t>
            </a:r>
            <a:r>
              <a:rPr lang="ru-RU" sz="2000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чел</a:t>
            </a:r>
            <a:r>
              <a:rPr lang="ru-RU" sz="20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. на </a:t>
            </a:r>
            <a:r>
              <a:rPr lang="ru-RU" sz="2000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1 млн</a:t>
            </a:r>
            <a:r>
              <a:rPr lang="ru-RU" sz="20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. населения (3500 чел)</a:t>
            </a:r>
          </a:p>
          <a:p>
            <a:pPr algn="ctr"/>
            <a:r>
              <a:rPr lang="ru-RU" sz="20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297602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"/>
          <p:cNvSpPr>
            <a:spLocks noGrp="1"/>
          </p:cNvSpPr>
          <p:nvPr>
            <p:ph type="title"/>
          </p:nvPr>
        </p:nvSpPr>
        <p:spPr>
          <a:xfrm>
            <a:off x="451432" y="116632"/>
            <a:ext cx="8408823" cy="1080120"/>
          </a:xfrm>
        </p:spPr>
        <p:txBody>
          <a:bodyPr>
            <a:normAutofit/>
          </a:bodyPr>
          <a:lstStyle/>
          <a:p>
            <a:pPr algn="ctr"/>
            <a:r>
              <a:rPr lang="ru-RU" altLang="ru-RU" sz="2800" b="1" dirty="0" smtClean="0">
                <a:latin typeface="Times New Roman" pitchFamily="18" charset="0"/>
                <a:cs typeface="Times New Roman" pitchFamily="18" charset="0"/>
              </a:rPr>
              <a:t>Потребность в лучевой терапии</a:t>
            </a:r>
            <a:endParaRPr lang="ru-RU" altLang="ru-RU" sz="28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075" name="Объект 2"/>
          <p:cNvSpPr>
            <a:spLocks noGrp="1"/>
          </p:cNvSpPr>
          <p:nvPr>
            <p:ph idx="1"/>
          </p:nvPr>
        </p:nvSpPr>
        <p:spPr>
          <a:xfrm>
            <a:off x="363311" y="1556792"/>
            <a:ext cx="8496944" cy="2051216"/>
          </a:xfrm>
          <a:noFill/>
          <a:ln w="38100">
            <a:solidFill>
              <a:schemeClr val="tx1"/>
            </a:solidFill>
          </a:ln>
        </p:spPr>
        <p:txBody>
          <a:bodyPr>
            <a:noAutofit/>
          </a:bodyPr>
          <a:lstStyle/>
          <a:p>
            <a:pPr algn="ctr">
              <a:buClr>
                <a:srgbClr val="095981"/>
              </a:buClr>
            </a:pPr>
            <a:r>
              <a:rPr lang="ru-RU" altLang="ru-RU" sz="3200" b="1" dirty="0" smtClean="0">
                <a:latin typeface="Times New Roman" pitchFamily="18" charset="0"/>
                <a:cs typeface="Times New Roman" pitchFamily="18" charset="0"/>
              </a:rPr>
              <a:t>Потребность	≈	</a:t>
            </a:r>
            <a:r>
              <a:rPr lang="ru-RU" altLang="ru-RU" sz="3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257,5</a:t>
            </a:r>
            <a:r>
              <a:rPr lang="ru-RU" altLang="ru-RU" sz="3200" b="1" dirty="0" smtClean="0">
                <a:latin typeface="Times New Roman" pitchFamily="18" charset="0"/>
                <a:cs typeface="Times New Roman" pitchFamily="18" charset="0"/>
              </a:rPr>
              <a:t> тыс</a:t>
            </a:r>
            <a:r>
              <a:rPr lang="ru-RU" altLang="ru-RU" sz="3200" b="1" dirty="0">
                <a:latin typeface="Times New Roman" pitchFamily="18" charset="0"/>
                <a:cs typeface="Times New Roman" pitchFamily="18" charset="0"/>
              </a:rPr>
              <a:t>./</a:t>
            </a:r>
            <a:r>
              <a:rPr lang="ru-RU" altLang="ru-RU" sz="3200" b="1" dirty="0" smtClean="0">
                <a:latin typeface="Times New Roman" pitchFamily="18" charset="0"/>
                <a:cs typeface="Times New Roman" pitchFamily="18" charset="0"/>
              </a:rPr>
              <a:t>год*</a:t>
            </a:r>
            <a:endParaRPr lang="ru-RU" altLang="ru-RU" sz="3200" b="1" dirty="0">
              <a:latin typeface="Times New Roman" pitchFamily="18" charset="0"/>
              <a:cs typeface="Times New Roman" pitchFamily="18" charset="0"/>
            </a:endParaRPr>
          </a:p>
          <a:p>
            <a:pPr algn="ctr">
              <a:buClr>
                <a:srgbClr val="095981"/>
              </a:buClr>
            </a:pPr>
            <a:r>
              <a:rPr lang="ru-RU" altLang="ru-RU" sz="3200" b="1" dirty="0" smtClean="0">
                <a:latin typeface="Times New Roman" pitchFamily="18" charset="0"/>
                <a:cs typeface="Times New Roman" pitchFamily="18" charset="0"/>
              </a:rPr>
              <a:t>Проведена		≈	</a:t>
            </a:r>
            <a:r>
              <a:rPr lang="ru-RU" altLang="ru-RU" sz="3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153,3</a:t>
            </a:r>
            <a:r>
              <a:rPr lang="ru-RU" altLang="ru-RU" sz="32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3200" b="1" dirty="0">
                <a:latin typeface="Times New Roman" pitchFamily="18" charset="0"/>
                <a:cs typeface="Times New Roman" pitchFamily="18" charset="0"/>
              </a:rPr>
              <a:t>тыс./год</a:t>
            </a:r>
          </a:p>
        </p:txBody>
      </p:sp>
      <p:sp>
        <p:nvSpPr>
          <p:cNvPr id="3076" name="TextBox 3"/>
          <p:cNvSpPr txBox="1">
            <a:spLocks noChangeArrowheads="1"/>
          </p:cNvSpPr>
          <p:nvPr/>
        </p:nvSpPr>
        <p:spPr bwMode="auto">
          <a:xfrm>
            <a:off x="971599" y="3933056"/>
            <a:ext cx="7096567" cy="113035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83101" tIns="41550" rIns="83101" bIns="41550">
            <a:spAutoFit/>
          </a:bodyPr>
          <a:lstStyle>
            <a:lvl1pPr>
              <a:defRPr sz="1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ru-RU" altLang="ru-RU" sz="28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егодня реализуется </a:t>
            </a:r>
          </a:p>
          <a:p>
            <a:pPr algn="ctr"/>
            <a:r>
              <a:rPr lang="ru-RU" altLang="ru-RU" sz="4000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60%  </a:t>
            </a:r>
            <a:r>
              <a:rPr lang="ru-RU" altLang="ru-RU" sz="40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т потребности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79512" y="5661248"/>
            <a:ext cx="868074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*</a:t>
            </a:r>
            <a:r>
              <a:rPr lang="ru-RU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ычислялась на основании отечественного и зарубежного опыта 2-х последних десятилетий: </a:t>
            </a:r>
            <a:r>
              <a:rPr lang="ru-RU" sz="2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≈</a:t>
            </a:r>
            <a:r>
              <a:rPr lang="ru-RU" sz="24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50%</a:t>
            </a:r>
            <a:r>
              <a:rPr lang="ru-RU" sz="2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ольных от числа впервые заболевших</a:t>
            </a:r>
            <a:endParaRPr lang="ru-RU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5983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67544" y="116632"/>
            <a:ext cx="8229600" cy="1080120"/>
          </a:xfrm>
        </p:spPr>
        <p:txBody>
          <a:bodyPr>
            <a:noAutofit/>
          </a:bodyPr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Сравнительные показатели оснащенности оборудованием и штатами радиотерапевтической службы в РФ и Европе</a:t>
            </a:r>
            <a:endParaRPr lang="ru-RU" sz="2000" b="1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5559469"/>
              </p:ext>
            </p:extLst>
          </p:nvPr>
        </p:nvGraphicFramePr>
        <p:xfrm>
          <a:off x="107504" y="1628800"/>
          <a:ext cx="8784976" cy="45115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05387"/>
                <a:gridCol w="2234774"/>
                <a:gridCol w="1849469"/>
                <a:gridCol w="1695346"/>
              </a:tblGrid>
              <a:tr h="708206">
                <a:tc>
                  <a:txBody>
                    <a:bodyPr/>
                    <a:lstStyle/>
                    <a:p>
                      <a:endParaRPr lang="ru-RU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solidFill>
                      <a:srgbClr val="0B68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latin typeface="Times New Roman" pitchFamily="18" charset="0"/>
                          <a:cs typeface="Times New Roman" pitchFamily="18" charset="0"/>
                        </a:rPr>
                        <a:t>РОССИЯ</a:t>
                      </a:r>
                      <a:endParaRPr lang="ru-RU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solidFill>
                      <a:srgbClr val="0B68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latin typeface="Times New Roman" pitchFamily="18" charset="0"/>
                          <a:cs typeface="Times New Roman" pitchFamily="18" charset="0"/>
                        </a:rPr>
                        <a:t>ЕВРОПА</a:t>
                      </a:r>
                      <a:endParaRPr lang="ru-RU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solidFill>
                      <a:srgbClr val="0B68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Соотнош</a:t>
                      </a:r>
                      <a:r>
                        <a:rPr lang="ru-RU" sz="180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  <a:p>
                      <a:pPr algn="ctr"/>
                      <a:r>
                        <a:rPr lang="ru-RU" sz="1800" dirty="0" smtClean="0">
                          <a:latin typeface="Times New Roman" pitchFamily="18" charset="0"/>
                          <a:cs typeface="Times New Roman" pitchFamily="18" charset="0"/>
                        </a:rPr>
                        <a:t>Рос/</a:t>
                      </a:r>
                      <a:r>
                        <a:rPr lang="ru-RU" sz="180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Евр</a:t>
                      </a:r>
                      <a:endParaRPr lang="ru-RU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solidFill>
                      <a:srgbClr val="0B6897"/>
                    </a:solidFill>
                  </a:tcPr>
                </a:tc>
              </a:tr>
              <a:tr h="681976">
                <a:tc>
                  <a:txBody>
                    <a:bodyPr/>
                    <a:lstStyle/>
                    <a:p>
                      <a:pPr algn="l"/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Число</a:t>
                      </a:r>
                      <a:r>
                        <a:rPr lang="ru-RU" sz="18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установок ДЛТ</a:t>
                      </a:r>
                    </a:p>
                    <a:p>
                      <a:pPr algn="l"/>
                      <a:r>
                        <a:rPr lang="ru-RU" sz="18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в </a:t>
                      </a:r>
                      <a:r>
                        <a:rPr lang="ru-RU" sz="1800" b="0" baseline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т.ч</a:t>
                      </a:r>
                      <a:r>
                        <a:rPr lang="ru-RU" sz="18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. ускорителей</a:t>
                      </a:r>
                      <a:endParaRPr lang="ru-RU" sz="18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2,13/1 млн</a:t>
                      </a:r>
                    </a:p>
                    <a:p>
                      <a:pPr algn="ctr"/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93/1 млн</a:t>
                      </a:r>
                      <a:endParaRPr lang="ru-RU" sz="18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5/1</a:t>
                      </a:r>
                      <a:r>
                        <a:rPr lang="ru-RU" sz="18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млн</a:t>
                      </a:r>
                      <a:endParaRPr lang="ru-RU" sz="18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42</a:t>
                      </a:r>
                      <a:endParaRPr lang="ru-RU" sz="18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</a:tr>
              <a:tr h="655747">
                <a:tc>
                  <a:txBody>
                    <a:bodyPr/>
                    <a:lstStyle/>
                    <a:p>
                      <a:pPr algn="l"/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Число </a:t>
                      </a:r>
                      <a:r>
                        <a:rPr lang="ru-RU" sz="1800" b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радиотерапевтов</a:t>
                      </a:r>
                      <a:endParaRPr lang="ru-RU" sz="18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smtClean="0">
                          <a:latin typeface="Times New Roman" pitchFamily="18" charset="0"/>
                          <a:cs typeface="Times New Roman" pitchFamily="18" charset="0"/>
                        </a:rPr>
                        <a:t>7,31/</a:t>
                      </a:r>
                      <a:r>
                        <a:rPr lang="ru-RU" sz="1800" b="0" baseline="0" smtClean="0">
                          <a:latin typeface="Times New Roman" pitchFamily="18" charset="0"/>
                          <a:cs typeface="Times New Roman" pitchFamily="18" charset="0"/>
                        </a:rPr>
                        <a:t>1 </a:t>
                      </a:r>
                      <a:r>
                        <a:rPr lang="ru-RU" sz="18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млн</a:t>
                      </a:r>
                      <a:endParaRPr lang="ru-RU" sz="18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2,8/1</a:t>
                      </a:r>
                      <a:r>
                        <a:rPr lang="ru-RU" sz="18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млн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57</a:t>
                      </a:r>
                      <a:endParaRPr lang="ru-RU" sz="18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</a:tr>
              <a:tr h="393448">
                <a:tc>
                  <a:txBody>
                    <a:bodyPr/>
                    <a:lstStyle/>
                    <a:p>
                      <a:pPr algn="l"/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Число </a:t>
                      </a:r>
                      <a:r>
                        <a:rPr lang="ru-RU" sz="1800" b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мед.физиков</a:t>
                      </a:r>
                      <a:endParaRPr lang="ru-RU" sz="18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2,68/1</a:t>
                      </a:r>
                      <a:r>
                        <a:rPr lang="ru-RU" sz="18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млн</a:t>
                      </a:r>
                      <a:endParaRPr lang="ru-RU" sz="18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7,6/1</a:t>
                      </a:r>
                      <a:r>
                        <a:rPr lang="ru-RU" sz="18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млн</a:t>
                      </a:r>
                      <a:endParaRPr lang="ru-RU" sz="18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35</a:t>
                      </a:r>
                      <a:endParaRPr lang="ru-RU" sz="18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</a:tr>
              <a:tr h="655747">
                <a:tc>
                  <a:txBody>
                    <a:bodyPr/>
                    <a:lstStyle/>
                    <a:p>
                      <a:pPr algn="l"/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Число операторов</a:t>
                      </a:r>
                    </a:p>
                    <a:p>
                      <a:pPr algn="l"/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(</a:t>
                      </a:r>
                      <a:r>
                        <a:rPr lang="ru-RU" sz="1800" b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радиац</a:t>
                      </a:r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lang="ru-RU" sz="18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технологов)</a:t>
                      </a:r>
                      <a:endParaRPr lang="ru-RU" sz="18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6,7/1</a:t>
                      </a:r>
                      <a:r>
                        <a:rPr lang="ru-RU" sz="18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млн</a:t>
                      </a:r>
                      <a:endParaRPr lang="ru-RU" sz="18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26,6/1</a:t>
                      </a:r>
                      <a:r>
                        <a:rPr lang="ru-RU" sz="18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млн</a:t>
                      </a:r>
                      <a:endParaRPr lang="ru-RU" sz="18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25</a:t>
                      </a:r>
                      <a:endParaRPr lang="ru-RU" sz="18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</a:tr>
              <a:tr h="708206">
                <a:tc>
                  <a:txBody>
                    <a:bodyPr/>
                    <a:lstStyle/>
                    <a:p>
                      <a:pPr algn="l"/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Число курсов ЛТ</a:t>
                      </a:r>
                    </a:p>
                    <a:p>
                      <a:pPr algn="l"/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на 1</a:t>
                      </a:r>
                      <a:r>
                        <a:rPr lang="ru-RU" sz="18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врача</a:t>
                      </a:r>
                      <a:endParaRPr lang="ru-RU" sz="18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43 чел/год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09 ч/год</a:t>
                      </a:r>
                      <a:endParaRPr lang="ru-RU" sz="18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68</a:t>
                      </a:r>
                      <a:endParaRPr lang="ru-RU" sz="18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</a:tr>
              <a:tr h="708206">
                <a:tc>
                  <a:txBody>
                    <a:bodyPr/>
                    <a:lstStyle/>
                    <a:p>
                      <a:pPr algn="l"/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Число курсов ЛТ</a:t>
                      </a:r>
                    </a:p>
                    <a:p>
                      <a:pPr algn="l"/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на 1 оператора</a:t>
                      </a:r>
                      <a:r>
                        <a:rPr lang="ru-RU" sz="18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     </a:t>
                      </a:r>
                      <a:endParaRPr lang="ru-RU" sz="18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56 чел/год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77 ч/год</a:t>
                      </a:r>
                      <a:endParaRPr lang="ru-RU" sz="18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 smtClean="0">
                          <a:latin typeface="Times New Roman" pitchFamily="18" charset="0"/>
                          <a:cs typeface="Times New Roman" pitchFamily="18" charset="0"/>
                        </a:rPr>
                        <a:t>2,3</a:t>
                      </a:r>
                      <a:endParaRPr lang="ru-RU" sz="18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08305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Заголовок 1"/>
          <p:cNvSpPr>
            <a:spLocks noGrp="1"/>
          </p:cNvSpPr>
          <p:nvPr>
            <p:ph type="title"/>
          </p:nvPr>
        </p:nvSpPr>
        <p:spPr>
          <a:xfrm>
            <a:off x="595189" y="14908"/>
            <a:ext cx="8230159" cy="1143251"/>
          </a:xfrm>
        </p:spPr>
        <p:txBody>
          <a:bodyPr>
            <a:normAutofit/>
          </a:bodyPr>
          <a:lstStyle/>
          <a:p>
            <a:pPr algn="ctr"/>
            <a:r>
              <a:rPr lang="ru-RU" altLang="ru-RU" sz="2000" b="1" dirty="0">
                <a:latin typeface="Times New Roman" pitchFamily="18" charset="0"/>
                <a:cs typeface="Times New Roman" pitchFamily="18" charset="0"/>
              </a:rPr>
              <a:t>Протонная лучевая терапия – наиболее динамично развивающийся метод радиационной онкологии</a:t>
            </a:r>
          </a:p>
        </p:txBody>
      </p: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609" y="1850410"/>
            <a:ext cx="4436460" cy="4598114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7" name="TextBox 5"/>
          <p:cNvSpPr txBox="1">
            <a:spLocks noChangeArrowheads="1"/>
          </p:cNvSpPr>
          <p:nvPr/>
        </p:nvSpPr>
        <p:spPr bwMode="auto">
          <a:xfrm>
            <a:off x="5269259" y="6347189"/>
            <a:ext cx="3803479" cy="497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3101" tIns="41550" rIns="83101" bIns="41550">
            <a:spAutoFit/>
          </a:bodyPr>
          <a:lstStyle>
            <a:lvl1pPr>
              <a:defRPr sz="1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r>
              <a:rPr lang="ru-RU" altLang="ru-RU" sz="1300" b="1" dirty="0"/>
              <a:t>По данным </a:t>
            </a:r>
            <a:r>
              <a:rPr lang="en-US" altLang="ru-RU" sz="1300" b="1" dirty="0" err="1"/>
              <a:t>Giap</a:t>
            </a:r>
            <a:r>
              <a:rPr lang="en-US" altLang="ru-RU" sz="1300" b="1" dirty="0"/>
              <a:t> H., </a:t>
            </a:r>
            <a:r>
              <a:rPr lang="ru-RU" altLang="ru-RU" sz="1300" b="1" dirty="0"/>
              <a:t>представленным на </a:t>
            </a:r>
            <a:r>
              <a:rPr lang="en-US" altLang="ru-RU" sz="1300" b="1" dirty="0"/>
              <a:t>PTCOG 54, 2015</a:t>
            </a:r>
            <a:endParaRPr lang="ru-RU" altLang="ru-RU" sz="1300" b="1" dirty="0"/>
          </a:p>
        </p:txBody>
      </p:sp>
      <p:sp>
        <p:nvSpPr>
          <p:cNvPr id="8198" name="Овал 6"/>
          <p:cNvSpPr>
            <a:spLocks noChangeArrowheads="1"/>
          </p:cNvSpPr>
          <p:nvPr/>
        </p:nvSpPr>
        <p:spPr bwMode="auto">
          <a:xfrm>
            <a:off x="515609" y="1466899"/>
            <a:ext cx="697258" cy="545985"/>
          </a:xfrm>
          <a:prstGeom prst="ellipse">
            <a:avLst/>
          </a:prstGeom>
          <a:noFill/>
          <a:ln w="28575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83101" tIns="41550" rIns="83101" bIns="41550"/>
          <a:lstStyle>
            <a:lvl1pPr defTabSz="960438">
              <a:defRPr sz="19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60438">
              <a:defRPr sz="19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60438">
              <a:defRPr sz="19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60438">
              <a:defRPr sz="19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60438">
              <a:defRPr sz="19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6043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6043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6043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6043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5724128" y="2276872"/>
            <a:ext cx="3090295" cy="752545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83101" tIns="41550" rIns="83101" bIns="41550"/>
          <a:lstStyle>
            <a:lvl1pPr marL="360363" indent="-360363" algn="l" defTabSz="960438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779463" indent="-300038" algn="l" defTabSz="960438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00150" indent="-239713" algn="l" defTabSz="960438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81163" indent="-241300" algn="l" defTabSz="960438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60588" indent="-239713" algn="l" defTabSz="960438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r>
              <a:rPr lang="ru-RU" sz="2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Рост числа центров </a:t>
            </a:r>
            <a:r>
              <a:rPr lang="ru-RU" sz="2200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протонотерапии</a:t>
            </a:r>
            <a:r>
              <a:rPr lang="ru-RU" sz="2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 в США </a:t>
            </a:r>
          </a:p>
        </p:txBody>
      </p:sp>
    </p:spTree>
    <p:extLst>
      <p:ext uri="{BB962C8B-B14F-4D97-AF65-F5344CB8AC3E}">
        <p14:creationId xmlns:p14="http://schemas.microsoft.com/office/powerpoint/2010/main" val="90197936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826" y="-21648"/>
            <a:ext cx="8766658" cy="1524000"/>
          </a:xfrm>
        </p:spPr>
        <p:txBody>
          <a:bodyPr>
            <a:normAutofit/>
          </a:bodyPr>
          <a:lstStyle/>
          <a:p>
            <a:pPr algn="ctr"/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Создано одно из </a:t>
            </a:r>
            <a:r>
              <a:rPr lang="ru-RU" sz="1800" b="1" dirty="0">
                <a:latin typeface="Times New Roman" pitchFamily="18" charset="0"/>
                <a:cs typeface="Times New Roman" pitchFamily="18" charset="0"/>
              </a:rPr>
              <a:t>первых в России </a:t>
            </a: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отделений протонно-лучевой терапии на базе разработанного отечественного комплекса «</a:t>
            </a:r>
            <a:r>
              <a:rPr lang="ru-RU" sz="1800" b="1" dirty="0" err="1" smtClean="0">
                <a:latin typeface="Times New Roman" pitchFamily="18" charset="0"/>
                <a:cs typeface="Times New Roman" pitchFamily="18" charset="0"/>
              </a:rPr>
              <a:t>Протом</a:t>
            </a: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»</a:t>
            </a:r>
            <a:endParaRPr lang="ru-RU" sz="18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3" name="Рисунок 12" descr="C:\Documents and Settings\plan\My Documents\Downloads\2014-12-04 14-05-14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46" b="26551"/>
          <a:stretch/>
        </p:blipFill>
        <p:spPr bwMode="auto">
          <a:xfrm>
            <a:off x="547102" y="1538356"/>
            <a:ext cx="2372489" cy="18186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Изображение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95" r="3165"/>
          <a:stretch/>
        </p:blipFill>
        <p:spPr bwMode="auto">
          <a:xfrm>
            <a:off x="3385756" y="1538357"/>
            <a:ext cx="2372489" cy="1818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ик 13"/>
          <p:cNvSpPr>
            <a:spLocks noChangeArrowheads="1"/>
          </p:cNvSpPr>
          <p:nvPr/>
        </p:nvSpPr>
        <p:spPr bwMode="auto">
          <a:xfrm>
            <a:off x="215516" y="3428999"/>
            <a:ext cx="8712968" cy="830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04" tIns="45701" rIns="91404" bIns="45701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073" algn="l" rtl="0" eaLnBrk="0" fontAlgn="base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147" algn="l" rtl="0" eaLnBrk="0" fontAlgn="base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220" algn="l" rtl="0" eaLnBrk="0" fontAlgn="base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295" algn="l" rtl="0" eaLnBrk="0" fontAlgn="base" hangingPunct="0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368" algn="l" defTabSz="914147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442" algn="l" defTabSz="914147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199516" algn="l" defTabSz="914147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6590" algn="l" defTabSz="914147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ru-RU" alt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истема позиционирования пациента имеет точность в пределах </a:t>
            </a:r>
            <a:r>
              <a:rPr lang="ru-RU" altLang="ru-RU" sz="16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± 0,5 мм</a:t>
            </a:r>
            <a:r>
              <a:rPr lang="ru-RU" alt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. Возможное отклонение от требуемой позиции наглядно визуализируется, а затем корректируется при помощи встроенного в установку компьютерного томографа. </a:t>
            </a:r>
          </a:p>
        </p:txBody>
      </p:sp>
      <p:pic>
        <p:nvPicPr>
          <p:cNvPr id="16" name="Picture 2" descr="D:\Документы\Новая папка (2)\Мои рисунки\Протоны Баплакин-Обнинск\Открытие Прот компл в Обн. с министром 2016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6174" y="4328045"/>
            <a:ext cx="2630162" cy="190926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42338" name="Picture 2" descr="C:\Users\em.a\Pictures\201507 Obninsk s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1959" y="1541767"/>
            <a:ext cx="2372489" cy="1815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2339" name="Picture 3" descr="C:\Users\em.a\Pictures\017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664" y="4328045"/>
            <a:ext cx="2630162" cy="1909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8931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472049" y="2311495"/>
            <a:ext cx="7006042" cy="979309"/>
          </a:xfrm>
          <a:prstGeom prst="rect">
            <a:avLst/>
          </a:prstGeom>
          <a:solidFill>
            <a:srgbClr val="D5F1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споряжение Правительства РФ № </a:t>
            </a:r>
            <a:r>
              <a:rPr lang="ru-RU" sz="16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2144-р от 23 октября 2015 г. «Об утверждении </a:t>
            </a:r>
            <a:r>
              <a:rPr lang="ru-RU" sz="16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«дорожной карты» развития центров ядерной </a:t>
            </a:r>
            <a:r>
              <a:rPr lang="ru-RU" sz="16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медицины»</a:t>
            </a:r>
            <a:endParaRPr lang="ru-RU" sz="16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454390" y="3817843"/>
            <a:ext cx="7006042" cy="979309"/>
          </a:xfrm>
          <a:prstGeom prst="rect">
            <a:avLst/>
          </a:prstGeom>
          <a:solidFill>
            <a:srgbClr val="D5F1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иказы </a:t>
            </a:r>
            <a:r>
              <a:rPr lang="ru-RU" sz="1600" b="1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Минпромторга</a:t>
            </a:r>
            <a:r>
              <a:rPr lang="ru-RU" sz="16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РФ №</a:t>
            </a:r>
            <a:r>
              <a:rPr lang="ru-RU" sz="16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655 и №656 от 31 марта 2015 г. «Об утверждении </a:t>
            </a:r>
            <a:r>
              <a:rPr lang="ru-RU" sz="16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лана мероприятий по </a:t>
            </a:r>
            <a:r>
              <a:rPr lang="ru-RU" sz="1600" b="1" dirty="0" err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мпортозамещению</a:t>
            </a:r>
            <a:r>
              <a:rPr lang="ru-RU" sz="16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отрасли фармацевтической промышленности» и «… в отрасли медицинских изделий» </a:t>
            </a:r>
            <a:endParaRPr lang="ru-RU" sz="16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Прямоугольник 4"/>
          <p:cNvSpPr/>
          <p:nvPr/>
        </p:nvSpPr>
        <p:spPr>
          <a:xfrm>
            <a:off x="878326" y="2305675"/>
            <a:ext cx="576064" cy="979309"/>
          </a:xfrm>
          <a:prstGeom prst="rect">
            <a:avLst/>
          </a:prstGeom>
          <a:solidFill>
            <a:srgbClr val="1189B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ru-RU" sz="44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Прямоугольник 14"/>
          <p:cNvSpPr/>
          <p:nvPr/>
        </p:nvSpPr>
        <p:spPr>
          <a:xfrm>
            <a:off x="878326" y="3817843"/>
            <a:ext cx="576064" cy="979309"/>
          </a:xfrm>
          <a:prstGeom prst="rect">
            <a:avLst/>
          </a:prstGeom>
          <a:solidFill>
            <a:srgbClr val="1189B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endParaRPr lang="ru-RU" sz="44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 bwMode="auto">
          <a:xfrm>
            <a:off x="323528" y="116632"/>
            <a:ext cx="8640960" cy="1203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017" tIns="48009" rIns="96017" bIns="48009" numCol="1" anchor="ctr" anchorCtr="0" compatLnSpc="1">
            <a:prstTxWarp prst="textNoShape">
              <a:avLst/>
            </a:prstTxWarp>
          </a:bodyPr>
          <a:lstStyle>
            <a:lvl1pPr algn="ctr" defTabSz="960438" rtl="0" eaLnBrk="0" fontAlgn="base" hangingPunct="0">
              <a:spcBef>
                <a:spcPct val="0"/>
              </a:spcBef>
              <a:spcAft>
                <a:spcPct val="0"/>
              </a:spcAft>
              <a:defRPr sz="46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defTabSz="96043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defTabSz="96043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defTabSz="96043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defTabSz="96043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defTabSz="96043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defTabSz="96043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defTabSz="96043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defTabSz="96043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sz="2800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НОРМАТИВНО – ПРАВОВОАЯ БАЗА</a:t>
            </a:r>
          </a:p>
          <a:p>
            <a:r>
              <a:rPr lang="ru-RU" sz="2400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РАСПОРЯЖЕНИЯ И ПРИКАЗЫ ПРАВИТЕЛЬСТВА </a:t>
            </a:r>
            <a:endParaRPr lang="ru-RU" sz="5400" dirty="0"/>
          </a:p>
        </p:txBody>
      </p:sp>
      <p:sp>
        <p:nvSpPr>
          <p:cNvPr id="9" name="Прямоугольник 14"/>
          <p:cNvSpPr/>
          <p:nvPr/>
        </p:nvSpPr>
        <p:spPr>
          <a:xfrm>
            <a:off x="895985" y="5156650"/>
            <a:ext cx="576064" cy="1008653"/>
          </a:xfrm>
          <a:prstGeom prst="rect">
            <a:avLst/>
          </a:prstGeom>
          <a:solidFill>
            <a:srgbClr val="1189B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4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3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498092" y="5156650"/>
            <a:ext cx="7006042" cy="979309"/>
          </a:xfrm>
          <a:prstGeom prst="rect">
            <a:avLst/>
          </a:prstGeom>
          <a:solidFill>
            <a:srgbClr val="D5F1F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оручение </a:t>
            </a:r>
            <a:r>
              <a:rPr lang="ru-RU" sz="16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езидента </a:t>
            </a:r>
            <a:r>
              <a:rPr lang="ru-RU" sz="16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оссийской Федерации </a:t>
            </a:r>
            <a:r>
              <a:rPr lang="ru-RU" sz="16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т 29 апреля 2010 года </a:t>
            </a:r>
            <a:r>
              <a:rPr lang="ru-RU" sz="16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по разработке «Программы </a:t>
            </a:r>
            <a:r>
              <a:rPr lang="ru-RU" sz="16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о развитию </a:t>
            </a:r>
            <a:r>
              <a:rPr lang="ru-RU" sz="1600" b="1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ядернои</a:t>
            </a:r>
            <a:r>
              <a:rPr lang="ru-RU" sz="16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̆ медицины в </a:t>
            </a:r>
            <a:r>
              <a:rPr lang="ru-RU" sz="1600" b="1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оссийскои</a:t>
            </a:r>
            <a:r>
              <a:rPr lang="ru-RU" sz="16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̆ Федерации»</a:t>
            </a:r>
          </a:p>
          <a:p>
            <a:pPr algn="r"/>
            <a:r>
              <a:rPr lang="ru-RU" sz="1600" b="1" dirty="0">
                <a:solidFill>
                  <a:schemeClr val="bg1"/>
                </a:solidFill>
                <a:latin typeface="Calibri,Bold" charset="0"/>
              </a:rPr>
              <a:t> </a:t>
            </a:r>
            <a:endParaRPr lang="ru-RU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6278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0034" y="0"/>
            <a:ext cx="8464579" cy="1524000"/>
          </a:xfrm>
        </p:spPr>
        <p:txBody>
          <a:bodyPr>
            <a:normAutofit/>
          </a:bodyPr>
          <a:lstStyle/>
          <a:p>
            <a:pPr algn="ctr"/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Совместно с Институтом физики высоких энергий НИЦ «Курчатовский институт» разработан и испытан первый в России комплекс для ионной лучевой терапии</a:t>
            </a:r>
            <a:endParaRPr lang="ru-RU" sz="18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00034" y="3429000"/>
            <a:ext cx="8215370" cy="7858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онная лучевая терапия </a:t>
            </a: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– передовая технология лечения радиорезистентных</a:t>
            </a:r>
            <a:b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нкологических новообразований с использованием пучка ионов углерода</a:t>
            </a:r>
            <a:endParaRPr lang="ru-RU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46434" name="Picture 2" descr="D:\настя\работа\ЦРЯТ\i100_lazer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0034" y="1500173"/>
            <a:ext cx="2408674" cy="1714512"/>
          </a:xfrm>
          <a:prstGeom prst="rect">
            <a:avLst/>
          </a:prstGeom>
          <a:noFill/>
        </p:spPr>
      </p:pic>
      <p:pic>
        <p:nvPicPr>
          <p:cNvPr id="146435" name="Picture 3" descr="D:\настя\работа\ЦРЯТ\big684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81086" y="4429132"/>
            <a:ext cx="2476996" cy="1714512"/>
          </a:xfrm>
          <a:prstGeom prst="rect">
            <a:avLst/>
          </a:prstGeom>
          <a:noFill/>
        </p:spPr>
      </p:pic>
      <p:pic>
        <p:nvPicPr>
          <p:cNvPr id="146436" name="Picture 4" descr="D:\настя\работа\ЦРЯТ\big6842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857356" y="4429132"/>
            <a:ext cx="2428892" cy="1714512"/>
          </a:xfrm>
          <a:prstGeom prst="rect">
            <a:avLst/>
          </a:prstGeom>
          <a:noFill/>
        </p:spPr>
      </p:pic>
      <p:pic>
        <p:nvPicPr>
          <p:cNvPr id="146437" name="Picture 5" descr="D:\настя\работа\ЦРЯТ\btl_i100_u15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215074" y="1500173"/>
            <a:ext cx="2500330" cy="1714512"/>
          </a:xfrm>
          <a:prstGeom prst="rect">
            <a:avLst/>
          </a:prstGeom>
          <a:noFill/>
        </p:spPr>
      </p:pic>
      <p:pic>
        <p:nvPicPr>
          <p:cNvPr id="146439" name="Picture 7" descr="D:\настя\работа\ЦРЯТ\big6828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357554" y="1500173"/>
            <a:ext cx="2428892" cy="171451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14959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481" y="-24471"/>
            <a:ext cx="8605184" cy="1330346"/>
          </a:xfrm>
        </p:spPr>
        <p:txBody>
          <a:bodyPr>
            <a:normAutofit/>
          </a:bodyPr>
          <a:lstStyle/>
          <a:p>
            <a:pPr algn="ctr"/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Ведется разработка и создание оборудования для дистанционной нейтронной и </a:t>
            </a:r>
            <a:r>
              <a:rPr lang="ru-RU" sz="1800" b="1" dirty="0" err="1" smtClean="0">
                <a:latin typeface="Times New Roman" pitchFamily="18" charset="0"/>
                <a:cs typeface="Times New Roman" pitchFamily="18" charset="0"/>
              </a:rPr>
              <a:t>фотонно</a:t>
            </a: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-лучевой терапии</a:t>
            </a:r>
            <a:endParaRPr lang="ru-RU" sz="18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11" name="Рисунок 62" descr="IMG_6786"/>
          <p:cNvPicPr>
            <a:picLocks noChangeAspect="1" noChangeArrowheads="1"/>
          </p:cNvPicPr>
          <p:nvPr/>
        </p:nvPicPr>
        <p:blipFill>
          <a:blip r:embed="rId2" cstate="print">
            <a:lum bright="12000" contrast="1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187" y="1423416"/>
            <a:ext cx="2274837" cy="2424774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Box 17"/>
          <p:cNvSpPr txBox="1">
            <a:spLocks noChangeArrowheads="1"/>
          </p:cNvSpPr>
          <p:nvPr/>
        </p:nvSpPr>
        <p:spPr bwMode="auto">
          <a:xfrm>
            <a:off x="287268" y="3838755"/>
            <a:ext cx="3780676" cy="276973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91416" tIns="45707" rIns="91416" bIns="45707">
            <a:spAutoFit/>
          </a:bodyPr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200" dirty="0" smtClean="0">
                <a:latin typeface="+mj-lt"/>
                <a:cs typeface="Arial" pitchFamily="34" charset="0"/>
              </a:rPr>
              <a:t>Прототип терапевтической нейтронной установки</a:t>
            </a:r>
            <a:endParaRPr lang="ru-RU" altLang="ru-RU" sz="1200" dirty="0">
              <a:latin typeface="+mj-lt"/>
              <a:cs typeface="Arial" pitchFamily="34" charset="0"/>
            </a:endParaRPr>
          </a:p>
        </p:txBody>
      </p:sp>
      <p:pic>
        <p:nvPicPr>
          <p:cNvPr id="13" name="Picture 6" descr="НГ-20 фото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187" y="4221088"/>
            <a:ext cx="2274838" cy="1658361"/>
          </a:xfrm>
          <a:prstGeom prst="rect">
            <a:avLst/>
          </a:prstGeom>
          <a:solidFill>
            <a:srgbClr val="FFFFFF">
              <a:shade val="85000"/>
            </a:srgb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4" name="Прямоугольник 13"/>
          <p:cNvSpPr/>
          <p:nvPr/>
        </p:nvSpPr>
        <p:spPr>
          <a:xfrm>
            <a:off x="359429" y="5928133"/>
            <a:ext cx="38548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1200" dirty="0">
                <a:solidFill>
                  <a:schemeClr val="bg1"/>
                </a:solidFill>
                <a:latin typeface="+mj-lt"/>
                <a:cs typeface="Arial" pitchFamily="34" charset="0"/>
              </a:rPr>
              <a:t>Генератор нейтронов с запаянной трубкой для внутриполостной </a:t>
            </a:r>
            <a:r>
              <a:rPr lang="ru-RU" altLang="ru-RU" sz="120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брахитерапии</a:t>
            </a:r>
            <a:endParaRPr lang="ru-RU" sz="11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15" name="Picture 1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52"/>
          <a:stretch/>
        </p:blipFill>
        <p:spPr bwMode="auto">
          <a:xfrm>
            <a:off x="4967303" y="1431859"/>
            <a:ext cx="3306215" cy="2405903"/>
          </a:xfrm>
          <a:prstGeom prst="rect">
            <a:avLst/>
          </a:prstGeom>
          <a:solidFill>
            <a:srgbClr val="FFFFFF">
              <a:shade val="85000"/>
            </a:srgbClr>
          </a:solidFill>
          <a:ln w="9525">
            <a:noFill/>
            <a:miter lim="800000"/>
            <a:headEnd/>
            <a:tailEnd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6" name="TextBox 2"/>
          <p:cNvSpPr txBox="1">
            <a:spLocks noChangeArrowheads="1"/>
          </p:cNvSpPr>
          <p:nvPr/>
        </p:nvSpPr>
        <p:spPr bwMode="auto">
          <a:xfrm>
            <a:off x="4352158" y="4239434"/>
            <a:ext cx="4536504" cy="230829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91416" tIns="45707" rIns="91416" bIns="45707">
            <a:spAutoFit/>
          </a:bodyPr>
          <a:lstStyle>
            <a:lvl1pPr>
              <a:defRPr sz="1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just"/>
            <a:r>
              <a:rPr lang="ru-RU" altLang="ru-RU" sz="16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оздание ускорительного комплекса для </a:t>
            </a:r>
            <a:r>
              <a:rPr lang="ru-RU" altLang="ru-RU" sz="1600" b="1" dirty="0" err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фотонно</a:t>
            </a:r>
            <a:r>
              <a:rPr lang="ru-RU" altLang="ru-RU" sz="16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-лучевой терапии </a:t>
            </a:r>
            <a:r>
              <a:rPr lang="ru-RU" altLang="ru-RU" sz="16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«под ключ», включающего весь необходимый набор устройств для дозиметрии, планирования облучения, его верификации, а также  программу непрерывной сервисной поддержки является одной из самых насущных потребностей Российской радиотерапевтической службы </a:t>
            </a:r>
          </a:p>
        </p:txBody>
      </p:sp>
      <p:sp>
        <p:nvSpPr>
          <p:cNvPr id="17" name="Text Box 17"/>
          <p:cNvSpPr txBox="1">
            <a:spLocks noChangeArrowheads="1"/>
          </p:cNvSpPr>
          <p:nvPr/>
        </p:nvSpPr>
        <p:spPr bwMode="auto">
          <a:xfrm>
            <a:off x="4730073" y="3837762"/>
            <a:ext cx="3780676" cy="46163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91416" tIns="45707" rIns="91416" bIns="45707">
            <a:spAutoFit/>
          </a:bodyPr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200" b="1" dirty="0">
                <a:solidFill>
                  <a:schemeClr val="bg1"/>
                </a:solidFill>
                <a:latin typeface="+mn-lt"/>
              </a:rPr>
              <a:t>19-МэВ</a:t>
            </a:r>
            <a:r>
              <a:rPr lang="en-US" altLang="ru-RU" sz="1200" b="1" dirty="0">
                <a:solidFill>
                  <a:schemeClr val="bg1"/>
                </a:solidFill>
                <a:latin typeface="+mn-lt"/>
              </a:rPr>
              <a:t>’</a:t>
            </a:r>
            <a:r>
              <a:rPr lang="ru-RU" altLang="ru-RU" sz="1200" b="1" dirty="0" err="1">
                <a:solidFill>
                  <a:schemeClr val="bg1"/>
                </a:solidFill>
                <a:latin typeface="+mn-lt"/>
              </a:rPr>
              <a:t>ный</a:t>
            </a:r>
            <a:r>
              <a:rPr lang="ru-RU" altLang="ru-RU" sz="1200" b="1" dirty="0">
                <a:solidFill>
                  <a:schemeClr val="bg1"/>
                </a:solidFill>
                <a:latin typeface="+mn-lt"/>
              </a:rPr>
              <a:t> ускорительный комплекс для </a:t>
            </a:r>
            <a:r>
              <a:rPr lang="ru-RU" altLang="ru-RU" sz="1200" b="1" dirty="0" err="1" smtClean="0">
                <a:solidFill>
                  <a:schemeClr val="bg1"/>
                </a:solidFill>
                <a:latin typeface="+mn-lt"/>
              </a:rPr>
              <a:t>фотонно</a:t>
            </a:r>
            <a:r>
              <a:rPr lang="ru-RU" altLang="ru-RU" sz="1200" b="1" dirty="0" smtClean="0">
                <a:solidFill>
                  <a:schemeClr val="bg1"/>
                </a:solidFill>
                <a:latin typeface="+mn-lt"/>
              </a:rPr>
              <a:t>-лучевой </a:t>
            </a:r>
            <a:r>
              <a:rPr lang="ru-RU" altLang="ru-RU" sz="1200" b="1" dirty="0">
                <a:solidFill>
                  <a:schemeClr val="bg1"/>
                </a:solidFill>
                <a:latin typeface="+mn-lt"/>
              </a:rPr>
              <a:t>терапии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4139952" y="1484784"/>
            <a:ext cx="0" cy="4804686"/>
          </a:xfrm>
          <a:prstGeom prst="line">
            <a:avLst/>
          </a:prstGeom>
          <a:ln>
            <a:solidFill>
              <a:srgbClr val="0C638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8122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418" y="2677139"/>
            <a:ext cx="4651647" cy="2731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07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9005" y="2677139"/>
            <a:ext cx="3792301" cy="2731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4" name="Прямоугольник 2"/>
          <p:cNvSpPr>
            <a:spLocks noChangeArrowheads="1"/>
          </p:cNvSpPr>
          <p:nvPr/>
        </p:nvSpPr>
        <p:spPr bwMode="auto">
          <a:xfrm>
            <a:off x="708437" y="5013414"/>
            <a:ext cx="4095517" cy="376299"/>
          </a:xfrm>
          <a:prstGeom prst="rect">
            <a:avLst/>
          </a:prstGeom>
          <a:noFill/>
          <a:ln>
            <a:noFill/>
          </a:ln>
          <a:extLst/>
        </p:spPr>
        <p:txBody>
          <a:bodyPr lIns="83101" tIns="41550" rIns="83101" bIns="41550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0" algn="l"/>
                <a:tab pos="404813" algn="l"/>
                <a:tab pos="812800" algn="l"/>
                <a:tab pos="1220788" algn="l"/>
                <a:tab pos="1627188" algn="l"/>
                <a:tab pos="2035175" algn="l"/>
                <a:tab pos="2443163" algn="l"/>
                <a:tab pos="2851150" algn="l"/>
                <a:tab pos="3257550" algn="l"/>
                <a:tab pos="3665538" algn="l"/>
                <a:tab pos="4073525" algn="l"/>
                <a:tab pos="4479925" algn="l"/>
                <a:tab pos="4887913" algn="l"/>
                <a:tab pos="5295900" algn="l"/>
                <a:tab pos="5703888" algn="l"/>
                <a:tab pos="6110288" algn="l"/>
                <a:tab pos="6518275" algn="l"/>
                <a:tab pos="6926263" algn="l"/>
                <a:tab pos="7332663" algn="l"/>
                <a:tab pos="7740650" algn="l"/>
                <a:tab pos="8148638" algn="l"/>
              </a:tabLst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tabLst>
                <a:tab pos="0" algn="l"/>
                <a:tab pos="404813" algn="l"/>
                <a:tab pos="812800" algn="l"/>
                <a:tab pos="1220788" algn="l"/>
                <a:tab pos="1627188" algn="l"/>
                <a:tab pos="2035175" algn="l"/>
                <a:tab pos="2443163" algn="l"/>
                <a:tab pos="2851150" algn="l"/>
                <a:tab pos="3257550" algn="l"/>
                <a:tab pos="3665538" algn="l"/>
                <a:tab pos="4073525" algn="l"/>
                <a:tab pos="4479925" algn="l"/>
                <a:tab pos="4887913" algn="l"/>
                <a:tab pos="5295900" algn="l"/>
                <a:tab pos="5703888" algn="l"/>
                <a:tab pos="6110288" algn="l"/>
                <a:tab pos="6518275" algn="l"/>
                <a:tab pos="6926263" algn="l"/>
                <a:tab pos="7332663" algn="l"/>
                <a:tab pos="7740650" algn="l"/>
                <a:tab pos="8148638" algn="l"/>
              </a:tabLst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0" algn="l"/>
                <a:tab pos="404813" algn="l"/>
                <a:tab pos="812800" algn="l"/>
                <a:tab pos="1220788" algn="l"/>
                <a:tab pos="1627188" algn="l"/>
                <a:tab pos="2035175" algn="l"/>
                <a:tab pos="2443163" algn="l"/>
                <a:tab pos="2851150" algn="l"/>
                <a:tab pos="3257550" algn="l"/>
                <a:tab pos="3665538" algn="l"/>
                <a:tab pos="4073525" algn="l"/>
                <a:tab pos="4479925" algn="l"/>
                <a:tab pos="4887913" algn="l"/>
                <a:tab pos="5295900" algn="l"/>
                <a:tab pos="5703888" algn="l"/>
                <a:tab pos="6110288" algn="l"/>
                <a:tab pos="6518275" algn="l"/>
                <a:tab pos="6926263" algn="l"/>
                <a:tab pos="7332663" algn="l"/>
                <a:tab pos="7740650" algn="l"/>
                <a:tab pos="8148638" algn="l"/>
              </a:tabLst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tabLst>
                <a:tab pos="0" algn="l"/>
                <a:tab pos="404813" algn="l"/>
                <a:tab pos="812800" algn="l"/>
                <a:tab pos="1220788" algn="l"/>
                <a:tab pos="1627188" algn="l"/>
                <a:tab pos="2035175" algn="l"/>
                <a:tab pos="2443163" algn="l"/>
                <a:tab pos="2851150" algn="l"/>
                <a:tab pos="3257550" algn="l"/>
                <a:tab pos="3665538" algn="l"/>
                <a:tab pos="4073525" algn="l"/>
                <a:tab pos="4479925" algn="l"/>
                <a:tab pos="4887913" algn="l"/>
                <a:tab pos="5295900" algn="l"/>
                <a:tab pos="5703888" algn="l"/>
                <a:tab pos="6110288" algn="l"/>
                <a:tab pos="6518275" algn="l"/>
                <a:tab pos="6926263" algn="l"/>
                <a:tab pos="7332663" algn="l"/>
                <a:tab pos="7740650" algn="l"/>
                <a:tab pos="8148638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tabLst>
                <a:tab pos="0" algn="l"/>
                <a:tab pos="404813" algn="l"/>
                <a:tab pos="812800" algn="l"/>
                <a:tab pos="1220788" algn="l"/>
                <a:tab pos="1627188" algn="l"/>
                <a:tab pos="2035175" algn="l"/>
                <a:tab pos="2443163" algn="l"/>
                <a:tab pos="2851150" algn="l"/>
                <a:tab pos="3257550" algn="l"/>
                <a:tab pos="3665538" algn="l"/>
                <a:tab pos="4073525" algn="l"/>
                <a:tab pos="4479925" algn="l"/>
                <a:tab pos="4887913" algn="l"/>
                <a:tab pos="5295900" algn="l"/>
                <a:tab pos="5703888" algn="l"/>
                <a:tab pos="6110288" algn="l"/>
                <a:tab pos="6518275" algn="l"/>
                <a:tab pos="6926263" algn="l"/>
                <a:tab pos="7332663" algn="l"/>
                <a:tab pos="7740650" algn="l"/>
                <a:tab pos="8148638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0" algn="l"/>
                <a:tab pos="404813" algn="l"/>
                <a:tab pos="812800" algn="l"/>
                <a:tab pos="1220788" algn="l"/>
                <a:tab pos="1627188" algn="l"/>
                <a:tab pos="2035175" algn="l"/>
                <a:tab pos="2443163" algn="l"/>
                <a:tab pos="2851150" algn="l"/>
                <a:tab pos="3257550" algn="l"/>
                <a:tab pos="3665538" algn="l"/>
                <a:tab pos="4073525" algn="l"/>
                <a:tab pos="4479925" algn="l"/>
                <a:tab pos="4887913" algn="l"/>
                <a:tab pos="5295900" algn="l"/>
                <a:tab pos="5703888" algn="l"/>
                <a:tab pos="6110288" algn="l"/>
                <a:tab pos="6518275" algn="l"/>
                <a:tab pos="6926263" algn="l"/>
                <a:tab pos="7332663" algn="l"/>
                <a:tab pos="7740650" algn="l"/>
                <a:tab pos="8148638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0" algn="l"/>
                <a:tab pos="404813" algn="l"/>
                <a:tab pos="812800" algn="l"/>
                <a:tab pos="1220788" algn="l"/>
                <a:tab pos="1627188" algn="l"/>
                <a:tab pos="2035175" algn="l"/>
                <a:tab pos="2443163" algn="l"/>
                <a:tab pos="2851150" algn="l"/>
                <a:tab pos="3257550" algn="l"/>
                <a:tab pos="3665538" algn="l"/>
                <a:tab pos="4073525" algn="l"/>
                <a:tab pos="4479925" algn="l"/>
                <a:tab pos="4887913" algn="l"/>
                <a:tab pos="5295900" algn="l"/>
                <a:tab pos="5703888" algn="l"/>
                <a:tab pos="6110288" algn="l"/>
                <a:tab pos="6518275" algn="l"/>
                <a:tab pos="6926263" algn="l"/>
                <a:tab pos="7332663" algn="l"/>
                <a:tab pos="7740650" algn="l"/>
                <a:tab pos="8148638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0" algn="l"/>
                <a:tab pos="404813" algn="l"/>
                <a:tab pos="812800" algn="l"/>
                <a:tab pos="1220788" algn="l"/>
                <a:tab pos="1627188" algn="l"/>
                <a:tab pos="2035175" algn="l"/>
                <a:tab pos="2443163" algn="l"/>
                <a:tab pos="2851150" algn="l"/>
                <a:tab pos="3257550" algn="l"/>
                <a:tab pos="3665538" algn="l"/>
                <a:tab pos="4073525" algn="l"/>
                <a:tab pos="4479925" algn="l"/>
                <a:tab pos="4887913" algn="l"/>
                <a:tab pos="5295900" algn="l"/>
                <a:tab pos="5703888" algn="l"/>
                <a:tab pos="6110288" algn="l"/>
                <a:tab pos="6518275" algn="l"/>
                <a:tab pos="6926263" algn="l"/>
                <a:tab pos="7332663" algn="l"/>
                <a:tab pos="7740650" algn="l"/>
                <a:tab pos="8148638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0" algn="l"/>
                <a:tab pos="404813" algn="l"/>
                <a:tab pos="812800" algn="l"/>
                <a:tab pos="1220788" algn="l"/>
                <a:tab pos="1627188" algn="l"/>
                <a:tab pos="2035175" algn="l"/>
                <a:tab pos="2443163" algn="l"/>
                <a:tab pos="2851150" algn="l"/>
                <a:tab pos="3257550" algn="l"/>
                <a:tab pos="3665538" algn="l"/>
                <a:tab pos="4073525" algn="l"/>
                <a:tab pos="4479925" algn="l"/>
                <a:tab pos="4887913" algn="l"/>
                <a:tab pos="5295900" algn="l"/>
                <a:tab pos="5703888" algn="l"/>
                <a:tab pos="6110288" algn="l"/>
                <a:tab pos="6518275" algn="l"/>
                <a:tab pos="6926263" algn="l"/>
                <a:tab pos="7332663" algn="l"/>
                <a:tab pos="7740650" algn="l"/>
                <a:tab pos="8148638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9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509" name="TextBox 4"/>
          <p:cNvSpPr txBox="1">
            <a:spLocks noChangeArrowheads="1"/>
          </p:cNvSpPr>
          <p:nvPr/>
        </p:nvSpPr>
        <p:spPr bwMode="auto">
          <a:xfrm>
            <a:off x="440852" y="5660451"/>
            <a:ext cx="4007487" cy="6379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3101" tIns="41550" rIns="83101" bIns="41550">
            <a:spAutoFit/>
          </a:bodyPr>
          <a:lstStyle>
            <a:lvl1pPr>
              <a:defRPr sz="1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342900" indent="-342900" eaLnBrk="1" hangingPunct="1">
              <a:buFont typeface="+mj-lt"/>
              <a:buAutoNum type="arabicPeriod"/>
            </a:pPr>
            <a:r>
              <a:rPr lang="ru-RU" altLang="ru-RU" sz="18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хема ионного терапевтического комплекса</a:t>
            </a:r>
          </a:p>
        </p:txBody>
      </p:sp>
      <p:sp>
        <p:nvSpPr>
          <p:cNvPr id="21510" name="TextBox 5"/>
          <p:cNvSpPr txBox="1">
            <a:spLocks noChangeArrowheads="1"/>
          </p:cNvSpPr>
          <p:nvPr/>
        </p:nvSpPr>
        <p:spPr bwMode="auto">
          <a:xfrm>
            <a:off x="5112760" y="5686092"/>
            <a:ext cx="3670259" cy="914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101" tIns="41550" rIns="83101" bIns="41550">
            <a:spAutoFit/>
          </a:bodyPr>
          <a:lstStyle>
            <a:lvl1pPr>
              <a:defRPr sz="1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8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борка ускорителя ионов углерода </a:t>
            </a:r>
          </a:p>
          <a:p>
            <a:pPr algn="ctr" eaLnBrk="1" hangingPunct="1"/>
            <a:r>
              <a:rPr lang="ru-RU" altLang="ru-RU" sz="18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на энергию 5,1 </a:t>
            </a:r>
            <a:r>
              <a:rPr lang="ru-RU" altLang="ru-RU" sz="1800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Гэв</a:t>
            </a:r>
            <a:r>
              <a:rPr lang="ru-RU" altLang="ru-RU" sz="18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, г. Протвино, </a:t>
            </a:r>
          </a:p>
          <a:p>
            <a:pPr algn="ctr" eaLnBrk="1" hangingPunct="1"/>
            <a:r>
              <a:rPr lang="ru-RU" altLang="ru-RU" sz="18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ЗАО «ПРОТОМ»</a:t>
            </a:r>
          </a:p>
        </p:txBody>
      </p:sp>
      <p:sp>
        <p:nvSpPr>
          <p:cNvPr id="21511" name="Заголовок 1"/>
          <p:cNvSpPr txBox="1">
            <a:spLocks/>
          </p:cNvSpPr>
          <p:nvPr/>
        </p:nvSpPr>
        <p:spPr bwMode="auto">
          <a:xfrm>
            <a:off x="638903" y="260648"/>
            <a:ext cx="7939518" cy="542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3101" tIns="41550" rIns="83101" bIns="41550"/>
          <a:lstStyle>
            <a:lvl1pPr>
              <a:defRPr sz="19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ru-RU" altLang="ru-RU" sz="2500" b="1" dirty="0" smtClean="0">
                <a:latin typeface="Times New Roman" pitchFamily="18" charset="0"/>
                <a:cs typeface="Times New Roman" pitchFamily="18" charset="0"/>
              </a:rPr>
              <a:t>РАЗРАБОТКА КОМПЛЕКСА ТЕРАПИИ ИОНАМИ УГЛЕРОДА</a:t>
            </a:r>
            <a:endParaRPr lang="ru-RU" altLang="ru-RU" sz="25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128" name="TextBox 6"/>
          <p:cNvSpPr txBox="1">
            <a:spLocks noChangeArrowheads="1"/>
          </p:cNvSpPr>
          <p:nvPr/>
        </p:nvSpPr>
        <p:spPr bwMode="auto">
          <a:xfrm>
            <a:off x="388453" y="1494674"/>
            <a:ext cx="8119772" cy="668687"/>
          </a:xfrm>
          <a:prstGeom prst="rect">
            <a:avLst/>
          </a:prstGeom>
          <a:noFill/>
          <a:ln>
            <a:noFill/>
          </a:ln>
          <a:extLst/>
        </p:spPr>
        <p:txBody>
          <a:bodyPr lIns="83101" tIns="41550" rIns="83101" bIns="4155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9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настоящее время установка находится в стадии изготовления и монтажа. Запуск ускорителя планируется провести в </a:t>
            </a:r>
            <a:r>
              <a:rPr lang="ru-RU" altLang="ru-RU" sz="19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2017 </a:t>
            </a:r>
            <a:r>
              <a:rPr lang="ru-RU" altLang="ru-RU" sz="19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году на базе в г. Протвино.</a:t>
            </a:r>
          </a:p>
        </p:txBody>
      </p:sp>
    </p:spTree>
    <p:extLst>
      <p:ext uri="{BB962C8B-B14F-4D97-AF65-F5344CB8AC3E}">
        <p14:creationId xmlns:p14="http://schemas.microsoft.com/office/powerpoint/2010/main" val="1710419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-99392"/>
            <a:ext cx="9217024" cy="1524000"/>
          </a:xfrm>
        </p:spPr>
        <p:txBody>
          <a:bodyPr/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Программа работ по созданию радиофармацевтических препаратов</a:t>
            </a:r>
            <a:endParaRPr lang="ru-RU" sz="20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72812" y="2492896"/>
            <a:ext cx="2723604" cy="4206974"/>
          </a:xfrm>
          <a:prstGeom prst="rect">
            <a:avLst/>
          </a:prstGeom>
          <a:solidFill>
            <a:srgbClr val="D5F1FB"/>
          </a:solidFill>
          <a:ln>
            <a:noFill/>
          </a:ln>
        </p:spPr>
        <p:txBody>
          <a:bodyPr wrap="square">
            <a:noAutofit/>
          </a:bodyPr>
          <a:lstStyle/>
          <a:p>
            <a:pPr eaLnBrk="1" hangingPunct="1">
              <a:lnSpc>
                <a:spcPct val="90000"/>
              </a:lnSpc>
              <a:spcAft>
                <a:spcPts val="1200"/>
              </a:spcAft>
            </a:pPr>
            <a:endParaRPr lang="ru-RU" altLang="ru-RU" sz="1400" b="1" baseline="300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eaLnBrk="1" hangingPunct="1">
              <a:lnSpc>
                <a:spcPct val="90000"/>
              </a:lnSpc>
              <a:spcAft>
                <a:spcPts val="1200"/>
              </a:spcAft>
            </a:pPr>
            <a:r>
              <a:rPr lang="ru-RU" altLang="ru-RU" sz="1400" b="1" baseline="30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125</a:t>
            </a:r>
            <a:r>
              <a:rPr lang="en-US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I</a:t>
            </a:r>
            <a:r>
              <a:rPr lang="ru-RU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- </a:t>
            </a:r>
            <a:r>
              <a:rPr 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 </a:t>
            </a:r>
            <a:r>
              <a:rPr 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ыполнены </a:t>
            </a:r>
            <a:r>
              <a:rPr 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цедуры </a:t>
            </a:r>
            <a:r>
              <a:rPr lang="ru-RU" sz="1400" b="1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низкодозной</a:t>
            </a:r>
            <a:r>
              <a:rPr 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рахитерапии</a:t>
            </a:r>
            <a:r>
              <a:rPr 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радиоактивными источниками </a:t>
            </a:r>
            <a:r>
              <a:rPr lang="en-US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I-125</a:t>
            </a:r>
            <a:r>
              <a:rPr 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отечественного производства.</a:t>
            </a:r>
            <a:endParaRPr lang="ru-RU" altLang="ru-RU" sz="1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eaLnBrk="1" hangingPunct="1">
              <a:lnSpc>
                <a:spcPct val="90000"/>
              </a:lnSpc>
              <a:spcAft>
                <a:spcPts val="1200"/>
              </a:spcAft>
              <a:buClr>
                <a:schemeClr val="bg1"/>
              </a:buClr>
            </a:pPr>
            <a:r>
              <a:rPr lang="ru-RU" altLang="ru-RU" sz="1400" b="1" baseline="30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99</a:t>
            </a:r>
            <a:r>
              <a:rPr lang="en-US" altLang="ru-RU" sz="1400" b="1" baseline="30000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m</a:t>
            </a:r>
            <a:r>
              <a:rPr lang="en-US" altLang="ru-RU" sz="1400" b="1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Tc</a:t>
            </a:r>
            <a:r>
              <a:rPr lang="en-US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ru-RU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микросферы </a:t>
            </a:r>
            <a:r>
              <a:rPr lang="ru-RU" alt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альбумина – для диагностики заболеваний легких</a:t>
            </a:r>
          </a:p>
          <a:p>
            <a:pPr eaLnBrk="1" hangingPunct="1">
              <a:lnSpc>
                <a:spcPct val="90000"/>
              </a:lnSpc>
              <a:spcAft>
                <a:spcPts val="1200"/>
              </a:spcAft>
              <a:buClr>
                <a:schemeClr val="bg1"/>
              </a:buClr>
            </a:pPr>
            <a:r>
              <a:rPr lang="ru-RU" altLang="ru-RU" sz="1400" b="1" baseline="30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188</a:t>
            </a:r>
            <a:r>
              <a:rPr lang="en-US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Re </a:t>
            </a:r>
            <a:r>
              <a:rPr lang="ru-RU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1400" b="1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фосфорен</a:t>
            </a:r>
            <a:r>
              <a:rPr lang="ru-RU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– для лечения костных</a:t>
            </a:r>
            <a:r>
              <a:rPr lang="en-US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метастазов</a:t>
            </a:r>
            <a:endParaRPr lang="ru-RU" altLang="ru-RU" sz="14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eaLnBrk="1" hangingPunct="1">
              <a:lnSpc>
                <a:spcPct val="90000"/>
              </a:lnSpc>
              <a:spcAft>
                <a:spcPts val="1200"/>
              </a:spcAft>
              <a:buClr>
                <a:schemeClr val="bg1"/>
              </a:buClr>
            </a:pPr>
            <a:r>
              <a:rPr lang="ru-RU" altLang="ru-RU" sz="1400" b="1" baseline="30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99</a:t>
            </a:r>
            <a:r>
              <a:rPr lang="en-US" altLang="ru-RU" sz="1400" b="1" baseline="30000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m</a:t>
            </a:r>
            <a:r>
              <a:rPr lang="en-US" altLang="ru-RU" sz="1400" b="1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Tc</a:t>
            </a:r>
            <a:r>
              <a:rPr lang="en-US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альбумин – для исследования гемодинамических характеристик 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216547" y="2492896"/>
            <a:ext cx="2723604" cy="4121670"/>
          </a:xfrm>
          <a:prstGeom prst="rect">
            <a:avLst/>
          </a:prstGeom>
          <a:solidFill>
            <a:srgbClr val="D5F1FB"/>
          </a:solidFill>
          <a:ln>
            <a:noFill/>
          </a:ln>
        </p:spPr>
        <p:txBody>
          <a:bodyPr wrap="square">
            <a:noAutofit/>
          </a:bodyPr>
          <a:lstStyle/>
          <a:p>
            <a:pPr eaLnBrk="1" hangingPunct="1">
              <a:lnSpc>
                <a:spcPct val="90000"/>
              </a:lnSpc>
              <a:spcAft>
                <a:spcPts val="1200"/>
              </a:spcAft>
            </a:pPr>
            <a:endParaRPr lang="ru-RU" altLang="ru-RU" sz="1400" b="1" baseline="30000" dirty="0" smtClean="0">
              <a:latin typeface="Times New Roman" pitchFamily="18" charset="0"/>
              <a:cs typeface="Times New Roman" pitchFamily="18" charset="0"/>
            </a:endParaRPr>
          </a:p>
          <a:p>
            <a:pPr eaLnBrk="1" hangingPunct="1">
              <a:lnSpc>
                <a:spcPct val="90000"/>
              </a:lnSpc>
              <a:spcAft>
                <a:spcPts val="1200"/>
              </a:spcAft>
            </a:pPr>
            <a:r>
              <a:rPr lang="ru-RU" altLang="ru-RU" sz="1400" b="1" baseline="30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188</a:t>
            </a:r>
            <a:r>
              <a:rPr lang="en-US" alt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Re</a:t>
            </a:r>
            <a:r>
              <a:rPr lang="ru-RU" alt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–</a:t>
            </a:r>
            <a:r>
              <a:rPr lang="en-US" alt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микросферы из альбумина 20-40 мкм для лечения опухолей и метастазов печени</a:t>
            </a:r>
            <a:endParaRPr lang="ru-RU" altLang="ru-RU" sz="14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eaLnBrk="1" hangingPunct="1">
              <a:lnSpc>
                <a:spcPct val="90000"/>
              </a:lnSpc>
              <a:spcAft>
                <a:spcPts val="1200"/>
              </a:spcAft>
              <a:buClr>
                <a:schemeClr val="bg1"/>
              </a:buClr>
            </a:pPr>
            <a:r>
              <a:rPr lang="en-US" altLang="ru-RU" sz="1400" b="1" baseline="30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153</a:t>
            </a:r>
            <a:r>
              <a:rPr lang="en-US" alt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Sm </a:t>
            </a:r>
            <a:r>
              <a:rPr lang="ru-RU" alt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en-US" alt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олимер для лечения солидных опухолей</a:t>
            </a:r>
            <a:endParaRPr lang="ru-RU" altLang="ru-RU" sz="14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6170312" y="2420888"/>
            <a:ext cx="2723604" cy="4103761"/>
          </a:xfrm>
          <a:prstGeom prst="rect">
            <a:avLst/>
          </a:prstGeom>
          <a:solidFill>
            <a:srgbClr val="D5F1FB"/>
          </a:solidFill>
          <a:ln>
            <a:noFill/>
          </a:ln>
        </p:spPr>
        <p:txBody>
          <a:bodyPr wrap="square">
            <a:noAutofit/>
          </a:bodyPr>
          <a:lstStyle/>
          <a:p>
            <a:pPr>
              <a:spcAft>
                <a:spcPts val="600"/>
              </a:spcAft>
              <a:buClr>
                <a:schemeClr val="bg1"/>
              </a:buClr>
            </a:pPr>
            <a:r>
              <a:rPr lang="ru-RU" altLang="ru-RU" sz="1400" b="1" baseline="30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90</a:t>
            </a:r>
            <a:r>
              <a:rPr lang="en-US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Y</a:t>
            </a:r>
            <a:r>
              <a:rPr lang="ru-RU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-Микросферы альбумина 5-10 мкм для лечения </a:t>
            </a:r>
            <a:r>
              <a:rPr lang="ru-RU" altLang="ru-RU" sz="1400" b="1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иновитов</a:t>
            </a:r>
            <a:r>
              <a:rPr lang="ru-RU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en-US" altLang="ru-RU" sz="14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spcAft>
                <a:spcPts val="600"/>
              </a:spcAft>
              <a:buClr>
                <a:schemeClr val="bg1"/>
              </a:buClr>
            </a:pPr>
            <a:r>
              <a:rPr lang="ru-RU" altLang="ru-RU" sz="1400" b="1" baseline="30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188</a:t>
            </a:r>
            <a:r>
              <a:rPr lang="en-US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Re</a:t>
            </a:r>
            <a:r>
              <a:rPr lang="ru-RU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ru-RU" altLang="ru-RU" sz="1400" b="1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Моноклональные</a:t>
            </a:r>
            <a:r>
              <a:rPr lang="ru-RU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антитела </a:t>
            </a:r>
            <a:r>
              <a:rPr lang="en-US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CD</a:t>
            </a:r>
            <a:r>
              <a:rPr lang="ru-RU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-20 для лечения </a:t>
            </a:r>
            <a:r>
              <a:rPr lang="ru-RU" altLang="ru-RU" sz="1400" b="1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лимфом</a:t>
            </a:r>
            <a:r>
              <a:rPr lang="ru-RU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>
              <a:spcAft>
                <a:spcPts val="600"/>
              </a:spcAft>
              <a:buClr>
                <a:schemeClr val="bg1"/>
              </a:buClr>
            </a:pPr>
            <a:r>
              <a:rPr lang="ru-RU" altLang="ru-RU" sz="1400" b="1" baseline="30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188</a:t>
            </a:r>
            <a:r>
              <a:rPr lang="en-US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Re</a:t>
            </a:r>
            <a:r>
              <a:rPr lang="ru-RU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-Пептид для лечения опухолей предстательной железы</a:t>
            </a:r>
            <a:r>
              <a:rPr lang="ru-RU" alt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>
              <a:spcAft>
                <a:spcPts val="600"/>
              </a:spcAft>
              <a:buClr>
                <a:schemeClr val="bg1"/>
              </a:buClr>
            </a:pPr>
            <a:r>
              <a:rPr lang="ru-RU" altLang="ru-RU" sz="1400" b="1" baseline="30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68</a:t>
            </a:r>
            <a:r>
              <a:rPr lang="en-US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Ga</a:t>
            </a:r>
            <a:r>
              <a:rPr lang="ru-RU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-Фолиевая кислота для ПЭТ солидных опухолей.</a:t>
            </a:r>
          </a:p>
          <a:p>
            <a:pPr>
              <a:spcAft>
                <a:spcPts val="600"/>
              </a:spcAft>
              <a:buClr>
                <a:schemeClr val="bg1"/>
              </a:buClr>
            </a:pPr>
            <a:r>
              <a:rPr lang="ru-RU" altLang="ru-RU" sz="1400" b="1" baseline="30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68</a:t>
            </a:r>
            <a:r>
              <a:rPr lang="en-US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Ga</a:t>
            </a:r>
            <a:r>
              <a:rPr lang="ru-RU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ru-RU" altLang="ru-RU" sz="1400" b="1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Аминоглюкоза</a:t>
            </a:r>
            <a:r>
              <a:rPr lang="ru-RU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для ПЭТ солидных опухолей.</a:t>
            </a:r>
          </a:p>
          <a:p>
            <a:pPr>
              <a:spcAft>
                <a:spcPts val="600"/>
              </a:spcAft>
              <a:buClr>
                <a:schemeClr val="bg1"/>
              </a:buClr>
            </a:pPr>
            <a:r>
              <a:rPr lang="ru-RU" altLang="ru-RU" sz="1400" b="1" baseline="30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68</a:t>
            </a:r>
            <a:r>
              <a:rPr lang="en-US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Ga-</a:t>
            </a:r>
            <a:r>
              <a:rPr lang="ru-RU" altLang="ru-RU" sz="1400" b="1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Моноклональные</a:t>
            </a:r>
            <a:r>
              <a:rPr lang="ru-RU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антитела </a:t>
            </a:r>
            <a:r>
              <a:rPr lang="en-US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CD</a:t>
            </a:r>
            <a:r>
              <a:rPr lang="ru-RU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-20 для ПЭТ </a:t>
            </a:r>
            <a:r>
              <a:rPr lang="ru-RU" altLang="ru-RU" sz="1400" b="1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лимфом</a:t>
            </a:r>
            <a:r>
              <a:rPr lang="ru-RU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en-US" altLang="ru-RU" sz="14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spcAft>
                <a:spcPts val="600"/>
              </a:spcAft>
              <a:buClr>
                <a:schemeClr val="bg1"/>
              </a:buClr>
            </a:pPr>
            <a:r>
              <a:rPr lang="ru-RU" altLang="ru-RU" sz="1400" b="1" baseline="30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68</a:t>
            </a:r>
            <a:r>
              <a:rPr lang="en-US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Ga-</a:t>
            </a:r>
            <a:r>
              <a:rPr lang="ru-RU" alt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ептид для ПЭТ опухолей предстательной железы.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261548" y="1348222"/>
            <a:ext cx="2746131" cy="936104"/>
          </a:xfrm>
          <a:prstGeom prst="rect">
            <a:avLst/>
          </a:prstGeom>
          <a:solidFill>
            <a:srgbClr val="1189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епараты прошедшие доклинические и клинические испытания</a:t>
            </a:r>
            <a:endParaRPr lang="ru-RU" sz="14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3216547" y="1340059"/>
            <a:ext cx="2746131" cy="936104"/>
          </a:xfrm>
          <a:prstGeom prst="rect">
            <a:avLst/>
          </a:prstGeom>
          <a:solidFill>
            <a:srgbClr val="1189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Доклинические испытания РФП в 2015-2017 гг.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6170312" y="1348222"/>
            <a:ext cx="2746131" cy="936104"/>
          </a:xfrm>
          <a:prstGeom prst="rect">
            <a:avLst/>
          </a:prstGeom>
          <a:solidFill>
            <a:srgbClr val="1189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зработка технологии получения и биологические исследования РФП в 2015-2020 </a:t>
            </a:r>
            <a:r>
              <a:rPr 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гг.</a:t>
            </a:r>
          </a:p>
        </p:txBody>
      </p:sp>
    </p:spTree>
    <p:extLst>
      <p:ext uri="{BB962C8B-B14F-4D97-AF65-F5344CB8AC3E}">
        <p14:creationId xmlns:p14="http://schemas.microsoft.com/office/powerpoint/2010/main" val="1871250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0"/>
            <a:ext cx="8077200" cy="1440160"/>
          </a:xfrm>
        </p:spPr>
        <p:txBody>
          <a:bodyPr/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ВЫВОДЫ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idx="1"/>
          </p:nvPr>
        </p:nvSpPr>
        <p:spPr>
          <a:xfrm>
            <a:off x="0" y="1340768"/>
            <a:ext cx="9144000" cy="5328592"/>
          </a:xfrm>
        </p:spPr>
        <p:txBody>
          <a:bodyPr>
            <a:normAutofit/>
          </a:bodyPr>
          <a:lstStyle/>
          <a:p>
            <a:pPr marL="285750" indent="-285750">
              <a:buFontTx/>
              <a:buChar char="-"/>
            </a:pPr>
            <a:r>
              <a:rPr lang="ru-RU" sz="2400" dirty="0" smtClean="0">
                <a:solidFill>
                  <a:srgbClr val="C00000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Ядерная </a:t>
            </a:r>
            <a:r>
              <a:rPr lang="ru-RU" sz="2400" dirty="0">
                <a:solidFill>
                  <a:srgbClr val="C00000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медицина </a:t>
            </a:r>
            <a:r>
              <a:rPr lang="ru-RU" sz="2400" dirty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– </a:t>
            </a: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динамично развивающаяся отрасль современной </a:t>
            </a:r>
            <a:r>
              <a:rPr lang="ru-RU" sz="2400" dirty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медицины</a:t>
            </a: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, которая во многом находится на стыке специальностей и в </a:t>
            </a:r>
            <a:r>
              <a:rPr lang="ru-RU" sz="2400" dirty="0" err="1" smtClean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всязи</a:t>
            </a: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 с этим требует обязательного междисциплинарного подхода.</a:t>
            </a:r>
          </a:p>
          <a:p>
            <a:pPr marL="285750" indent="-285750">
              <a:buFontTx/>
              <a:buChar char="-"/>
            </a:pPr>
            <a:r>
              <a:rPr lang="ru-RU" sz="2400" dirty="0" smtClean="0">
                <a:solidFill>
                  <a:srgbClr val="C00000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Методы ядерной медицины </a:t>
            </a: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должны занять значительную нишу на этапах диагностики и комбинированного лечения неинфекционных заболеваний и процент применения этих методик будет неуклонно расти.</a:t>
            </a:r>
          </a:p>
          <a:p>
            <a:pPr marL="285750" indent="-285750">
              <a:buFontTx/>
              <a:buChar char="-"/>
            </a:pPr>
            <a:r>
              <a:rPr lang="ru-RU" sz="2400" dirty="0" smtClean="0">
                <a:solidFill>
                  <a:srgbClr val="C00000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Парк </a:t>
            </a:r>
            <a:r>
              <a:rPr lang="ru-RU" sz="2400" dirty="0" smtClean="0">
                <a:solidFill>
                  <a:srgbClr val="C00000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оборудования</a:t>
            </a: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, </a:t>
            </a:r>
            <a:r>
              <a:rPr lang="ru-RU" sz="2400" dirty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и</a:t>
            </a: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спользуемый при методиках ядерной медицины в Российской Федерации в настоящее время </a:t>
            </a:r>
            <a:r>
              <a:rPr lang="ru-RU" sz="2400" dirty="0" smtClean="0">
                <a:solidFill>
                  <a:srgbClr val="C00000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нуждается в срочном обновлении </a:t>
            </a: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и переоснащении с обязательным применением компонентов отечественного производства. </a:t>
            </a:r>
          </a:p>
          <a:p>
            <a:pPr marL="285750" indent="-285750">
              <a:buFontTx/>
              <a:buChar char="-"/>
            </a:pPr>
            <a:endParaRPr lang="ru-RU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52337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Объект 4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179512" y="-26322"/>
            <a:ext cx="8785101" cy="1524000"/>
          </a:xfrm>
        </p:spPr>
        <p:txBody>
          <a:bodyPr>
            <a:normAutofit/>
          </a:bodyPr>
          <a:lstStyle/>
          <a:p>
            <a:pPr algn="ctr">
              <a:spcAft>
                <a:spcPts val="2400"/>
              </a:spcAft>
            </a:pPr>
            <a:r>
              <a:rPr lang="ru-RU" sz="1800" b="1" dirty="0">
                <a:latin typeface="Times New Roman" pitchFamily="18" charset="0"/>
                <a:cs typeface="Times New Roman" pitchFamily="18" charset="0"/>
              </a:rPr>
              <a:t>Распространенность методов ядерной медицины и лучевой терапии любой </a:t>
            </a: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страны </a:t>
            </a:r>
            <a:r>
              <a:rPr lang="ru-RU" sz="1800" b="1" dirty="0">
                <a:latin typeface="Times New Roman" pitchFamily="18" charset="0"/>
                <a:cs typeface="Times New Roman" pitchFamily="18" charset="0"/>
              </a:rPr>
              <a:t>зависит от обеспеченности системы здравоохранения финансовыми ресурсами</a:t>
            </a:r>
          </a:p>
        </p:txBody>
      </p:sp>
      <p:sp>
        <p:nvSpPr>
          <p:cNvPr id="14" name="Текст 3"/>
          <p:cNvSpPr>
            <a:spLocks noGrp="1"/>
          </p:cNvSpPr>
          <p:nvPr>
            <p:ph type="body" sz="quarter" idx="13"/>
          </p:nvPr>
        </p:nvSpPr>
        <p:spPr/>
        <p:txBody>
          <a:bodyPr anchor="ctr"/>
          <a:lstStyle/>
          <a:p>
            <a:r>
              <a:rPr lang="ru-RU" sz="9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сточники: Всемирный банк </a:t>
            </a:r>
            <a:endParaRPr lang="ru-RU" sz="9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666345" y="1648847"/>
            <a:ext cx="55876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Количество процедур ядерной медицины зависит от общего объема финансирования системы здравоохранения</a:t>
            </a:r>
            <a:endParaRPr lang="ru-RU" sz="14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1" name="Диаграмма 10"/>
          <p:cNvGraphicFramePr/>
          <p:nvPr>
            <p:extLst>
              <p:ext uri="{D42A27DB-BD31-4B8C-83A1-F6EECF244321}">
                <p14:modId xmlns:p14="http://schemas.microsoft.com/office/powerpoint/2010/main" val="2792919137"/>
              </p:ext>
            </p:extLst>
          </p:nvPr>
        </p:nvGraphicFramePr>
        <p:xfrm>
          <a:off x="1133618" y="2053519"/>
          <a:ext cx="6876764" cy="38237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13" name="Прямая соединительная линия 12"/>
          <p:cNvCxnSpPr/>
          <p:nvPr/>
        </p:nvCxnSpPr>
        <p:spPr>
          <a:xfrm flipV="1">
            <a:off x="2483768" y="2773599"/>
            <a:ext cx="4752528" cy="2160240"/>
          </a:xfrm>
          <a:prstGeom prst="line">
            <a:avLst/>
          </a:prstGeom>
          <a:ln w="38100">
            <a:solidFill>
              <a:srgbClr val="1189BE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5736" y="4761210"/>
            <a:ext cx="400797" cy="40079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3956" y="2552747"/>
            <a:ext cx="400797" cy="40079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5471" y="4022283"/>
            <a:ext cx="400797" cy="400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144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31335" y="0"/>
            <a:ext cx="8712968" cy="1524000"/>
          </a:xfrm>
        </p:spPr>
        <p:txBody>
          <a:bodyPr>
            <a:norm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Сфера использования </a:t>
            </a: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400" b="1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методов </a:t>
            </a: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ядерной медицины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59706" y="1524000"/>
            <a:ext cx="7140686" cy="4862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Онкология</a:t>
            </a:r>
          </a:p>
          <a:p>
            <a:pPr algn="ctr"/>
            <a:r>
              <a:rPr lang="ru-RU" sz="2800" b="1" dirty="0" smtClean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Кардиология</a:t>
            </a:r>
          </a:p>
          <a:p>
            <a:pPr algn="ctr"/>
            <a:r>
              <a:rPr lang="ru-RU" sz="2800" b="1" dirty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Неврология и </a:t>
            </a:r>
            <a:r>
              <a:rPr lang="ru-RU" sz="2800" b="1" dirty="0" err="1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нейрохирургия</a:t>
            </a:r>
            <a:endParaRPr lang="ru-RU" sz="2800" b="1" dirty="0" smtClean="0">
              <a:solidFill>
                <a:schemeClr val="bg1"/>
              </a:solidFill>
              <a:latin typeface="Times New Roman" pitchFamily="18" charset="0"/>
              <a:ea typeface="Arial" charset="0"/>
              <a:cs typeface="Times New Roman" pitchFamily="18" charset="0"/>
            </a:endParaRPr>
          </a:p>
          <a:p>
            <a:pPr algn="ctr"/>
            <a:endParaRPr lang="ru-RU" sz="2000" b="1" dirty="0" smtClean="0">
              <a:solidFill>
                <a:schemeClr val="bg1"/>
              </a:solidFill>
              <a:latin typeface="Times New Roman" pitchFamily="18" charset="0"/>
              <a:ea typeface="Arial" charset="0"/>
              <a:cs typeface="Times New Roman" pitchFamily="18" charset="0"/>
            </a:endParaRPr>
          </a:p>
          <a:p>
            <a:pPr algn="ctr"/>
            <a:r>
              <a:rPr lang="ru-RU" sz="2000" b="1" dirty="0" err="1" smtClean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Гепатология</a:t>
            </a:r>
            <a:r>
              <a:rPr lang="ru-RU" sz="2000" b="1" dirty="0" smtClean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 </a:t>
            </a:r>
            <a:endParaRPr lang="ru-RU" sz="2000" b="1" dirty="0">
              <a:solidFill>
                <a:schemeClr val="bg1"/>
              </a:solidFill>
              <a:latin typeface="Times New Roman" pitchFamily="18" charset="0"/>
              <a:ea typeface="Arial" charset="0"/>
              <a:cs typeface="Times New Roman" pitchFamily="18" charset="0"/>
            </a:endParaRPr>
          </a:p>
          <a:p>
            <a:pPr algn="ctr"/>
            <a:r>
              <a:rPr lang="ru-RU" sz="2000" b="1" dirty="0" smtClean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Травматология </a:t>
            </a:r>
            <a:endParaRPr lang="ru-RU" sz="2000" b="1" dirty="0">
              <a:solidFill>
                <a:schemeClr val="bg1"/>
              </a:solidFill>
              <a:latin typeface="Times New Roman" pitchFamily="18" charset="0"/>
              <a:ea typeface="Arial" charset="0"/>
              <a:cs typeface="Times New Roman" pitchFamily="18" charset="0"/>
            </a:endParaRPr>
          </a:p>
          <a:p>
            <a:pPr algn="ctr"/>
            <a:r>
              <a:rPr lang="ru-RU" sz="2000" b="1" dirty="0" smtClean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Иммунология </a:t>
            </a:r>
            <a:endParaRPr lang="ru-RU" sz="2000" b="1" dirty="0">
              <a:solidFill>
                <a:schemeClr val="bg1"/>
              </a:solidFill>
              <a:latin typeface="Times New Roman" pitchFamily="18" charset="0"/>
              <a:ea typeface="Arial" charset="0"/>
              <a:cs typeface="Times New Roman" pitchFamily="18" charset="0"/>
            </a:endParaRPr>
          </a:p>
          <a:p>
            <a:pPr algn="ctr"/>
            <a:r>
              <a:rPr lang="ru-RU" sz="2000" b="1" dirty="0" smtClean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Урология </a:t>
            </a:r>
            <a:r>
              <a:rPr lang="ru-RU" sz="2000" b="1" dirty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и нефрология </a:t>
            </a:r>
          </a:p>
          <a:p>
            <a:pPr algn="ctr"/>
            <a:r>
              <a:rPr lang="ru-RU" sz="2000" b="1" dirty="0" smtClean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Педиатрия </a:t>
            </a:r>
            <a:endParaRPr lang="ru-RU" sz="2000" b="1" dirty="0" smtClean="0">
              <a:solidFill>
                <a:schemeClr val="bg1"/>
              </a:solidFill>
              <a:latin typeface="Times New Roman" pitchFamily="18" charset="0"/>
              <a:ea typeface="Arial" charset="0"/>
              <a:cs typeface="Times New Roman" pitchFamily="18" charset="0"/>
            </a:endParaRPr>
          </a:p>
          <a:p>
            <a:pPr algn="ctr"/>
            <a:r>
              <a:rPr lang="ru-RU" sz="2000" b="1" dirty="0" smtClean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Аллергология </a:t>
            </a:r>
            <a:endParaRPr lang="ru-RU" sz="2000" b="1" dirty="0">
              <a:solidFill>
                <a:schemeClr val="bg1"/>
              </a:solidFill>
              <a:latin typeface="Times New Roman" pitchFamily="18" charset="0"/>
              <a:ea typeface="Arial" charset="0"/>
              <a:cs typeface="Times New Roman" pitchFamily="18" charset="0"/>
            </a:endParaRPr>
          </a:p>
          <a:p>
            <a:pPr algn="ctr"/>
            <a:r>
              <a:rPr lang="ru-RU" sz="2000" b="1" dirty="0" smtClean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Пульмонология</a:t>
            </a:r>
            <a:endParaRPr lang="ru-RU" sz="2000" b="1" dirty="0" smtClean="0">
              <a:solidFill>
                <a:schemeClr val="bg1"/>
              </a:solidFill>
              <a:latin typeface="Times New Roman" pitchFamily="18" charset="0"/>
              <a:ea typeface="Arial" charset="0"/>
              <a:cs typeface="Times New Roman" pitchFamily="18" charset="0"/>
            </a:endParaRPr>
          </a:p>
          <a:p>
            <a:pPr algn="ctr"/>
            <a:r>
              <a:rPr lang="ru-RU" sz="2000" b="1" dirty="0" smtClean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Эндокринология </a:t>
            </a:r>
            <a:endParaRPr lang="ru-RU" sz="2000" b="1" dirty="0">
              <a:solidFill>
                <a:schemeClr val="bg1"/>
              </a:solidFill>
              <a:latin typeface="Times New Roman" pitchFamily="18" charset="0"/>
              <a:ea typeface="Arial" charset="0"/>
              <a:cs typeface="Times New Roman" pitchFamily="18" charset="0"/>
            </a:endParaRPr>
          </a:p>
          <a:p>
            <a:pPr algn="ctr"/>
            <a:r>
              <a:rPr lang="ru-RU" sz="2000" b="1" dirty="0" smtClean="0">
                <a:solidFill>
                  <a:schemeClr val="bg1"/>
                </a:solidFill>
                <a:latin typeface="Times New Roman" pitchFamily="18" charset="0"/>
                <a:ea typeface="Arial" charset="0"/>
                <a:cs typeface="Times New Roman" pitchFamily="18" charset="0"/>
              </a:rPr>
              <a:t>Гематология </a:t>
            </a:r>
            <a:endParaRPr lang="ru-RU" sz="2000" b="1" dirty="0">
              <a:solidFill>
                <a:schemeClr val="bg1"/>
              </a:solidFill>
              <a:latin typeface="Times New Roman" pitchFamily="18" charset="0"/>
              <a:ea typeface="Arial" charset="0"/>
              <a:cs typeface="Times New Roman" pitchFamily="18" charset="0"/>
            </a:endParaRP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47771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7584" y="116632"/>
            <a:ext cx="7776864" cy="735691"/>
          </a:xfrm>
        </p:spPr>
        <p:txBody>
          <a:bodyPr>
            <a:normAutofit/>
          </a:bodyPr>
          <a:lstStyle/>
          <a:p>
            <a:pPr algn="ctr"/>
            <a:r>
              <a:rPr lang="ru-RU" sz="2800" b="1" dirty="0" err="1" smtClean="0">
                <a:latin typeface="Times New Roman" pitchFamily="18" charset="0"/>
                <a:cs typeface="Times New Roman" pitchFamily="18" charset="0"/>
              </a:rPr>
              <a:t>Радионуклидная</a:t>
            </a:r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 диагностика</a:t>
            </a:r>
            <a:endParaRPr lang="ru-RU" sz="28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07504" y="1484784"/>
            <a:ext cx="4104455" cy="5112568"/>
          </a:xfrm>
        </p:spPr>
        <p:txBody>
          <a:bodyPr>
            <a:normAutofit fontScale="25000" lnSpcReduction="20000"/>
          </a:bodyPr>
          <a:lstStyle/>
          <a:p>
            <a:pPr algn="ctr"/>
            <a:r>
              <a:rPr lang="ru-RU" sz="7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еимущества</a:t>
            </a:r>
          </a:p>
          <a:p>
            <a:pPr algn="ctr"/>
            <a:endParaRPr lang="ru-RU" sz="4500" b="1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marL="685800" indent="-685800">
              <a:buClr>
                <a:srgbClr val="C00000"/>
              </a:buClr>
              <a:buFont typeface="Wingdings" pitchFamily="2" charset="2"/>
              <a:buChar char="§"/>
            </a:pPr>
            <a:r>
              <a:rPr lang="ru-RU" sz="6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Амбулаторное </a:t>
            </a:r>
            <a:r>
              <a:rPr lang="ru-RU" sz="6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спользование</a:t>
            </a:r>
            <a:r>
              <a:rPr lang="ru-RU" sz="6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6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</a:br>
            <a:endParaRPr lang="ru-RU" sz="64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marL="685800" indent="-685800">
              <a:buClr>
                <a:srgbClr val="C00000"/>
              </a:buClr>
              <a:buFont typeface="Wingdings" pitchFamily="2" charset="2"/>
              <a:buChar char="§"/>
            </a:pPr>
            <a:r>
              <a:rPr lang="ru-RU" sz="6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Не </a:t>
            </a:r>
            <a:r>
              <a:rPr lang="ru-RU" sz="6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меют противопоказаний, побочных </a:t>
            </a:r>
            <a:r>
              <a:rPr lang="ru-RU" sz="6400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действии</a:t>
            </a:r>
            <a:r>
              <a:rPr lang="ru-RU" sz="6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̆ , возрастных ограничении</a:t>
            </a:r>
            <a:r>
              <a:rPr lang="ru-RU" sz="6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̆</a:t>
            </a:r>
          </a:p>
          <a:p>
            <a:pPr marL="685800" indent="-685800">
              <a:buClr>
                <a:srgbClr val="C00000"/>
              </a:buClr>
              <a:buFont typeface="Wingdings" pitchFamily="2" charset="2"/>
              <a:buChar char="§"/>
            </a:pPr>
            <a:r>
              <a:rPr lang="ru-RU" sz="6400" dirty="0" err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Неинвазивны</a:t>
            </a:r>
            <a:r>
              <a:rPr lang="ru-RU" sz="6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6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(без физического вмешательства в </a:t>
            </a:r>
            <a:r>
              <a:rPr lang="ru-RU" sz="6400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гранизм</a:t>
            </a:r>
            <a:r>
              <a:rPr lang="ru-RU" sz="6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6400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нетравматичны</a:t>
            </a:r>
            <a:r>
              <a:rPr lang="ru-RU" sz="6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) </a:t>
            </a:r>
            <a:endParaRPr lang="ru-RU" sz="64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marL="685800" indent="-685800">
              <a:buClr>
                <a:srgbClr val="C00000"/>
              </a:buClr>
              <a:buFont typeface="Wingdings" pitchFamily="2" charset="2"/>
              <a:buChar char="§"/>
            </a:pPr>
            <a:r>
              <a:rPr lang="ru-RU" sz="6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Могут </a:t>
            </a:r>
            <a:r>
              <a:rPr lang="ru-RU" sz="6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неоднократно повторяться без риска для больного </a:t>
            </a:r>
          </a:p>
          <a:p>
            <a:pPr marL="685800" indent="-685800">
              <a:buClr>
                <a:srgbClr val="C00000"/>
              </a:buClr>
              <a:buFont typeface="Wingdings" pitchFamily="2" charset="2"/>
              <a:buChar char="§"/>
            </a:pPr>
            <a:r>
              <a:rPr lang="ru-RU" sz="6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озможность </a:t>
            </a:r>
            <a:r>
              <a:rPr lang="ru-RU" sz="6400" dirty="0" err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зучениякровотока</a:t>
            </a:r>
            <a:r>
              <a:rPr lang="ru-RU" sz="6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6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головного мозга методом ОФЭКТ </a:t>
            </a:r>
          </a:p>
          <a:p>
            <a:pPr marL="685800" indent="-685800">
              <a:buClr>
                <a:srgbClr val="C00000"/>
              </a:buClr>
              <a:buFont typeface="Wingdings" pitchFamily="2" charset="2"/>
              <a:buChar char="§"/>
            </a:pPr>
            <a:r>
              <a:rPr lang="ru-RU" sz="6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Небольшая </a:t>
            </a:r>
            <a:r>
              <a:rPr lang="ru-RU" sz="6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должительность </a:t>
            </a:r>
            <a:r>
              <a:rPr lang="ru-RU" sz="6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бследования </a:t>
            </a:r>
            <a:br>
              <a:rPr lang="ru-RU" sz="6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</a:br>
            <a:endParaRPr lang="ru-RU" sz="64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marL="685800" indent="-685800">
              <a:buClr>
                <a:srgbClr val="C00000"/>
              </a:buClr>
              <a:buFont typeface="Wingdings" pitchFamily="2" charset="2"/>
              <a:buChar char="§"/>
            </a:pPr>
            <a:r>
              <a:rPr lang="ru-RU" sz="6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Небольшая </a:t>
            </a:r>
            <a:r>
              <a:rPr lang="ru-RU" sz="6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лучевая нагрузка </a:t>
            </a:r>
            <a:r>
              <a:rPr lang="ru-RU" sz="6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(в </a:t>
            </a:r>
            <a:r>
              <a:rPr lang="ru-RU" sz="6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~10 раз меньше в сравнении с рентгеновским обследованием </a:t>
            </a:r>
            <a:r>
              <a:rPr lang="ru-RU" sz="6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)</a:t>
            </a:r>
            <a:endParaRPr lang="ru-RU" sz="64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Текст 2"/>
          <p:cNvSpPr txBox="1">
            <a:spLocks/>
          </p:cNvSpPr>
          <p:nvPr/>
        </p:nvSpPr>
        <p:spPr>
          <a:xfrm>
            <a:off x="4211959" y="1484784"/>
            <a:ext cx="4464497" cy="495294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8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8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6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сновные направления в онкологии</a:t>
            </a:r>
          </a:p>
          <a:p>
            <a:endParaRPr lang="ru-RU" sz="2000" b="1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Clr>
                <a:srgbClr val="C00000"/>
              </a:buClr>
              <a:buFont typeface="Wingdings" pitchFamily="2" charset="2"/>
              <a:buChar char="§"/>
            </a:pP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пределение </a:t>
            </a: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тепени распространенности процесса</a:t>
            </a:r>
          </a:p>
          <a:p>
            <a:pPr marL="285750" indent="-285750">
              <a:buClr>
                <a:srgbClr val="C00000"/>
              </a:buClr>
              <a:buFont typeface="Wingdings" pitchFamily="2" charset="2"/>
              <a:buChar char="§"/>
            </a:pP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Дифференциальная </a:t>
            </a: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диагностика</a:t>
            </a:r>
          </a:p>
          <a:p>
            <a:pPr marL="285750" indent="-285750">
              <a:buClr>
                <a:srgbClr val="C00000"/>
              </a:buClr>
              <a:buFont typeface="Wingdings" pitchFamily="2" charset="2"/>
              <a:buChar char="§"/>
            </a:pP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ыявление </a:t>
            </a: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ервичного очага</a:t>
            </a:r>
          </a:p>
          <a:p>
            <a:pPr marL="285750" indent="-285750">
              <a:buClr>
                <a:srgbClr val="C00000"/>
              </a:buClr>
              <a:buFont typeface="Wingdings" pitchFamily="2" charset="2"/>
              <a:buChar char="§"/>
            </a:pP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ценка </a:t>
            </a: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эффективности лечения</a:t>
            </a:r>
          </a:p>
          <a:p>
            <a:pPr marL="285750" indent="-285750">
              <a:buClr>
                <a:srgbClr val="C00000"/>
              </a:buClr>
              <a:buFont typeface="Wingdings" pitchFamily="2" charset="2"/>
              <a:buChar char="§"/>
            </a:pP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ыявление </a:t>
            </a: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ецидива</a:t>
            </a:r>
          </a:p>
          <a:p>
            <a:r>
              <a:rPr lang="ru-RU" sz="2000" b="1" dirty="0" smtClean="0">
                <a:solidFill>
                  <a:schemeClr val="bg1"/>
                </a:solidFill>
              </a:rPr>
              <a:t/>
            </a:r>
            <a:br>
              <a:rPr lang="ru-RU" sz="2000" b="1" dirty="0" smtClean="0">
                <a:solidFill>
                  <a:schemeClr val="bg1"/>
                </a:solidFill>
              </a:rPr>
            </a:br>
            <a:endParaRPr lang="ru-RU" sz="20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08428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332656"/>
            <a:ext cx="9217024" cy="663683"/>
          </a:xfrm>
        </p:spPr>
        <p:txBody>
          <a:bodyPr>
            <a:noAutofit/>
          </a:bodyPr>
          <a:lstStyle/>
          <a:p>
            <a:pPr algn="ctr"/>
            <a:r>
              <a:rPr lang="ru-RU" sz="2800" b="1" dirty="0">
                <a:latin typeface="Times New Roman" pitchFamily="18" charset="0"/>
                <a:cs typeface="Times New Roman" pitchFamily="18" charset="0"/>
              </a:rPr>
              <a:t>Позитронно-</a:t>
            </a:r>
            <a:r>
              <a:rPr lang="ru-RU" sz="2800" b="1" dirty="0" err="1">
                <a:latin typeface="Times New Roman" pitchFamily="18" charset="0"/>
                <a:cs typeface="Times New Roman" pitchFamily="18" charset="0"/>
              </a:rPr>
              <a:t>эмисионная</a:t>
            </a:r>
            <a:r>
              <a:rPr lang="ru-RU" sz="28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томография</a:t>
            </a:r>
            <a:br>
              <a:rPr lang="ru-RU" sz="2800" b="1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800" b="1" dirty="0" smtClean="0">
                <a:latin typeface="Times New Roman" pitchFamily="18" charset="0"/>
                <a:ea typeface="Arial" charset="0"/>
                <a:cs typeface="Times New Roman" pitchFamily="18" charset="0"/>
              </a:rPr>
              <a:t>( основные области применения)</a:t>
            </a:r>
            <a:endParaRPr lang="ru-RU" sz="1800" dirty="0">
              <a:latin typeface="Times New Roman" pitchFamily="18" charset="0"/>
              <a:ea typeface="Arial" charset="0"/>
              <a:cs typeface="Times New Roman" pitchFamily="18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43733" y="1700808"/>
            <a:ext cx="7640635" cy="4680519"/>
          </a:xfrm>
        </p:spPr>
        <p:txBody>
          <a:bodyPr>
            <a:normAutofit lnSpcReduction="10000"/>
          </a:bodyPr>
          <a:lstStyle/>
          <a:p>
            <a:endParaRPr lang="ru-RU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Clr>
                <a:srgbClr val="C00000"/>
              </a:buClr>
              <a:buFont typeface="Wingdings" pitchFamily="2" charset="2"/>
              <a:buChar char="Ø"/>
            </a:pPr>
            <a:r>
              <a:rPr lang="ru-RU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Диагностика </a:t>
            </a:r>
            <a:r>
              <a:rPr lang="ru-RU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нкологических заболеваний (~90%) </a:t>
            </a:r>
          </a:p>
          <a:p>
            <a:pPr marL="742950" lvl="1" indent="-285750">
              <a:buClr>
                <a:srgbClr val="C00000"/>
              </a:buClr>
              <a:buFont typeface="Wingdings" pitchFamily="2" charset="2"/>
              <a:buChar char="§"/>
            </a:pP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пухоли </a:t>
            </a:r>
            <a:r>
              <a:rPr lang="ru-RU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лёгких</a:t>
            </a: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толстои</a:t>
            </a: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̆ и </a:t>
            </a:r>
            <a:r>
              <a:rPr lang="ru-RU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ямои</a:t>
            </a: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̆ кишки, головы и шеи, пищевода и желудка, </a:t>
            </a:r>
            <a:r>
              <a:rPr lang="ru-RU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оджелудочнои</a:t>
            </a: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̆ железы, печени, </a:t>
            </a:r>
            <a:r>
              <a:rPr lang="ru-RU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молочнои</a:t>
            </a: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̆ железы, яичников, простаты, головного мозга, </a:t>
            </a:r>
            <a:r>
              <a:rPr lang="ru-RU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щитовиднои</a:t>
            </a: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̆ железы ... </a:t>
            </a:r>
            <a:endParaRPr lang="ru-RU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marL="742950" lvl="1" indent="-285750">
              <a:buClr>
                <a:srgbClr val="C00000"/>
              </a:buClr>
              <a:buFont typeface="Wingdings" pitchFamily="2" charset="2"/>
              <a:buChar char="§"/>
            </a:pP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 злокачественная </a:t>
            </a:r>
            <a:r>
              <a:rPr lang="ru-RU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лимфома</a:t>
            </a: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и меланома </a:t>
            </a:r>
          </a:p>
          <a:p>
            <a:pPr marL="742950" lvl="1" indent="-285750">
              <a:buClr>
                <a:srgbClr val="C00000"/>
              </a:buClr>
              <a:buFont typeface="Wingdings" pitchFamily="2" charset="2"/>
              <a:buChar char="§"/>
            </a:pP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метастазы </a:t>
            </a: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костные структуры и др</a:t>
            </a: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marL="285750" indent="-285750">
              <a:buClr>
                <a:srgbClr val="C00000"/>
              </a:buClr>
              <a:buFont typeface="Wingdings" pitchFamily="2" charset="2"/>
              <a:buChar char="Ø"/>
            </a:pPr>
            <a:r>
              <a:rPr lang="ru-RU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едоперационная </a:t>
            </a:r>
            <a:r>
              <a:rPr lang="ru-RU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диагностика сердечных заболеваний (~5%) </a:t>
            </a:r>
          </a:p>
          <a:p>
            <a:pPr marL="742950" lvl="1" indent="-285750">
              <a:buClr>
                <a:srgbClr val="C00000"/>
              </a:buClr>
              <a:buFont typeface="Wingdings" pitchFamily="2" charset="2"/>
              <a:buChar char="§"/>
            </a:pP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кровоснабжение миокарда на уровне микроциркуляции скорость метаболических процессов в </a:t>
            </a:r>
            <a:r>
              <a:rPr lang="ru-RU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кардиомиоцитах</a:t>
            </a: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marL="285750" indent="-285750">
              <a:buClr>
                <a:srgbClr val="C00000"/>
              </a:buClr>
              <a:buFont typeface="Wingdings" pitchFamily="2" charset="2"/>
              <a:buChar char="Ø"/>
            </a:pPr>
            <a:r>
              <a:rPr lang="ru-RU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Дифференциальная </a:t>
            </a:r>
            <a:r>
              <a:rPr lang="ru-RU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диагностика неврологических заболеваний(~5%) </a:t>
            </a:r>
          </a:p>
          <a:p>
            <a:pPr marL="742950" lvl="1" indent="-285750">
              <a:buClr>
                <a:srgbClr val="C00000"/>
              </a:buClr>
              <a:buFont typeface="Wingdings" pitchFamily="2" charset="2"/>
              <a:buChar char="§"/>
            </a:pP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эпилепсия</a:t>
            </a: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, деменция, ментальная </a:t>
            </a:r>
            <a:r>
              <a:rPr lang="ru-RU" dirty="0" err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депрессия,заболевание</a:t>
            </a: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Паркинсона, </a:t>
            </a: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церебральная </a:t>
            </a: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шемия</a:t>
            </a:r>
            <a:endParaRPr lang="ru-RU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" name="Picture 4" descr="http://www.vrach-expert.ru/img/PET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0770" y="3717032"/>
            <a:ext cx="1521769" cy="288032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34820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88640"/>
            <a:ext cx="9144000" cy="864096"/>
          </a:xfrm>
        </p:spPr>
        <p:txBody>
          <a:bodyPr>
            <a:norm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Позитронно-</a:t>
            </a:r>
            <a:r>
              <a:rPr lang="ru-RU" sz="2400" b="1" dirty="0" err="1" smtClean="0">
                <a:latin typeface="Times New Roman" pitchFamily="18" charset="0"/>
                <a:cs typeface="Times New Roman" pitchFamily="18" charset="0"/>
              </a:rPr>
              <a:t>эмисионная</a:t>
            </a: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 томография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23528" y="1556792"/>
            <a:ext cx="8064896" cy="5184576"/>
          </a:xfrm>
        </p:spPr>
        <p:txBody>
          <a:bodyPr>
            <a:normAutofit/>
          </a:bodyPr>
          <a:lstStyle/>
          <a:p>
            <a:pPr marL="285750" indent="-285750">
              <a:buClr>
                <a:srgbClr val="C00000"/>
              </a:buClr>
              <a:buFont typeface="Wingdings" pitchFamily="2" charset="2"/>
              <a:buChar char="Ø"/>
            </a:pP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 начала широкого применения ПЭТ в онкологии прогноз выживания пациентов увеличился в </a:t>
            </a:r>
            <a:r>
              <a:rPr lang="ru-RU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2 раза </a:t>
            </a:r>
          </a:p>
          <a:p>
            <a:pPr marL="285750" indent="-285750">
              <a:buClr>
                <a:srgbClr val="C00000"/>
              </a:buClr>
              <a:buFont typeface="Wingdings" pitchFamily="2" charset="2"/>
              <a:buChar char="Ø"/>
            </a:pP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ичина – наличие существенных преимуществ перед УЗИ, КТ, МРТ и ОФЭКТ: </a:t>
            </a: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Чувствительность </a:t>
            </a:r>
            <a:r>
              <a:rPr lang="ru-RU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на 2 порядка выше </a:t>
            </a: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сравнении с ОФЭКТ </a:t>
            </a:r>
            <a:endParaRPr lang="ru-RU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Clr>
                <a:srgbClr val="C00000"/>
              </a:buClr>
              <a:buFont typeface="Wingdings" pitchFamily="2" charset="2"/>
              <a:buChar char="Ø"/>
            </a:pP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озможность измерения функциональных изменении</a:t>
            </a: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̆ </a:t>
            </a:r>
          </a:p>
          <a:p>
            <a:pPr lvl="1">
              <a:buClr>
                <a:srgbClr val="C00000"/>
              </a:buClr>
            </a:pP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иохимических процессов в теле пациента: </a:t>
            </a:r>
          </a:p>
          <a:p>
            <a:pPr marL="285750" indent="-285750">
              <a:buClr>
                <a:srgbClr val="C00000"/>
              </a:buClr>
              <a:buFont typeface="Wingdings" pitchFamily="2" charset="2"/>
              <a:buChar char="Ø"/>
            </a:pP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ысокая </a:t>
            </a: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точность отличия доброкачественного образование от злокачественного </a:t>
            </a:r>
          </a:p>
          <a:p>
            <a:pPr marL="285750" indent="-285750">
              <a:buClr>
                <a:srgbClr val="C00000"/>
              </a:buClr>
              <a:buFont typeface="Wingdings" pitchFamily="2" charset="2"/>
              <a:buChar char="Ø"/>
            </a:pP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оевременное </a:t>
            </a: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пределение эффективности </a:t>
            </a:r>
            <a:r>
              <a:rPr lang="ru-RU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имененнои</a:t>
            </a: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̆ стратегии лечения </a:t>
            </a:r>
          </a:p>
          <a:p>
            <a:pPr lvl="1">
              <a:buClr>
                <a:srgbClr val="C00000"/>
              </a:buClr>
            </a:pP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нняя </a:t>
            </a: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диагностика - половина успеха в борьбе с раком </a:t>
            </a:r>
          </a:p>
          <a:p>
            <a:pPr marL="285750" indent="-285750">
              <a:buClr>
                <a:srgbClr val="C00000"/>
              </a:buClr>
              <a:buFont typeface="Wingdings" pitchFamily="2" charset="2"/>
              <a:buChar char="Ø"/>
            </a:pP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озможность определения метастазов размером </a:t>
            </a:r>
            <a:r>
              <a:rPr lang="ru-RU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1-2мм </a:t>
            </a:r>
            <a:endParaRPr lang="ru-RU" b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Clr>
                <a:srgbClr val="C00000"/>
              </a:buClr>
              <a:buFont typeface="Wingdings" pitchFamily="2" charset="2"/>
              <a:buChar char="Ø"/>
            </a:pPr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Контроль всего тела пациента на наличие </a:t>
            </a:r>
            <a:r>
              <a:rPr lang="ru-RU" dirty="0" err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ервичнои</a:t>
            </a:r>
            <a:r>
              <a:rPr lang="ru-RU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̆ опухоли и метастаз за один сеанс </a:t>
            </a:r>
          </a:p>
          <a:p>
            <a:pPr marL="285750" indent="-285750">
              <a:buClr>
                <a:srgbClr val="C00000"/>
              </a:buClr>
              <a:buFont typeface="Wingdings" pitchFamily="2" charset="2"/>
              <a:buChar char="Ø"/>
            </a:pP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00421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75656" y="404664"/>
            <a:ext cx="6402468" cy="512026"/>
          </a:xfrm>
        </p:spPr>
        <p:txBody>
          <a:bodyPr>
            <a:noAutofit/>
          </a:bodyPr>
          <a:lstStyle/>
          <a:p>
            <a:pPr algn="ctr"/>
            <a:r>
              <a:rPr lang="ru-RU" sz="2800" b="1" dirty="0" err="1" smtClean="0">
                <a:latin typeface="Times New Roman" pitchFamily="18" charset="0"/>
                <a:ea typeface="Arial" charset="0"/>
                <a:cs typeface="Times New Roman" pitchFamily="18" charset="0"/>
              </a:rPr>
              <a:t>Радионуклидная</a:t>
            </a:r>
            <a:r>
              <a:rPr lang="ru-RU" sz="2800" b="1" dirty="0" smtClean="0">
                <a:latin typeface="Times New Roman" pitchFamily="18" charset="0"/>
                <a:ea typeface="Arial" charset="0"/>
                <a:cs typeface="Times New Roman" pitchFamily="18" charset="0"/>
              </a:rPr>
              <a:t> терапия</a:t>
            </a:r>
            <a:endParaRPr lang="ru-RU" sz="2800" b="1" dirty="0">
              <a:latin typeface="Times New Roman" pitchFamily="18" charset="0"/>
              <a:ea typeface="Arial" charset="0"/>
              <a:cs typeface="Times New Roman" pitchFamily="18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07504" y="1484784"/>
            <a:ext cx="8856984" cy="4752528"/>
          </a:xfrm>
        </p:spPr>
        <p:txBody>
          <a:bodyPr>
            <a:noAutofit/>
          </a:bodyPr>
          <a:lstStyle/>
          <a:p>
            <a:pPr algn="just"/>
            <a:r>
              <a:rPr 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снован на введении </a:t>
            </a:r>
            <a:r>
              <a:rPr 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организм больного терапевтических РФП на основе открытых источников ионизирующего излучения, которые, накапливаясь непосредственно в патологическом очаге в организме, разрушают поврежденную ткань. </a:t>
            </a:r>
            <a:endParaRPr lang="ru-RU" sz="16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ЕИМУЩЕСТВА</a:t>
            </a:r>
          </a:p>
          <a:p>
            <a:pPr marL="285750" indent="-285750" algn="ctr">
              <a:buClr>
                <a:srgbClr val="C00000"/>
              </a:buClr>
              <a:buFont typeface="Wingdings" pitchFamily="2" charset="2"/>
              <a:buChar char="§"/>
            </a:pPr>
            <a:r>
              <a:rPr 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збирательность </a:t>
            </a:r>
            <a:r>
              <a:rPr 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овреждения опухоли или патологического очага </a:t>
            </a:r>
          </a:p>
          <a:p>
            <a:pPr marL="285750" indent="-285750" algn="ctr">
              <a:buClr>
                <a:srgbClr val="C00000"/>
              </a:buClr>
              <a:buFont typeface="Wingdings" pitchFamily="2" charset="2"/>
              <a:buChar char="§"/>
            </a:pPr>
            <a:r>
              <a:rPr 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железы у </a:t>
            </a:r>
            <a:r>
              <a:rPr lang="ru-RU" sz="1600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детеи</a:t>
            </a:r>
            <a:r>
              <a:rPr 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̆ и подростков </a:t>
            </a:r>
          </a:p>
          <a:p>
            <a:pPr marL="285750" indent="-285750" algn="ctr">
              <a:buClr>
                <a:srgbClr val="C00000"/>
              </a:buClr>
              <a:buFont typeface="Wingdings" pitchFamily="2" charset="2"/>
              <a:buChar char="§"/>
            </a:pPr>
            <a:r>
              <a:rPr lang="ru-RU" sz="1600" dirty="0" err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оздеи</a:t>
            </a:r>
            <a:r>
              <a:rPr lang="ru-RU" sz="1600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̆ствие</a:t>
            </a:r>
            <a:r>
              <a:rPr 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происходит одновременно на все патологические очаги </a:t>
            </a:r>
          </a:p>
          <a:p>
            <a:pPr marL="285750" indent="-285750" algn="ctr">
              <a:buClr>
                <a:srgbClr val="C00000"/>
              </a:buClr>
              <a:buFont typeface="Wingdings" pitchFamily="2" charset="2"/>
              <a:buChar char="§"/>
            </a:pPr>
            <a:r>
              <a:rPr 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минимальное </a:t>
            </a:r>
            <a:r>
              <a:rPr 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овреждение здоровых ткани </a:t>
            </a:r>
          </a:p>
          <a:p>
            <a:pPr marL="285750" indent="-285750" algn="ctr">
              <a:buClr>
                <a:srgbClr val="C00000"/>
              </a:buClr>
              <a:buFont typeface="Wingdings" pitchFamily="2" charset="2"/>
              <a:buChar char="§"/>
            </a:pPr>
            <a:r>
              <a:rPr 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хорошая </a:t>
            </a:r>
            <a:r>
              <a:rPr 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ереносимость процедуры терапии </a:t>
            </a:r>
          </a:p>
          <a:p>
            <a:pPr marL="285750" indent="-285750" algn="ctr">
              <a:buClr>
                <a:srgbClr val="C00000"/>
              </a:buClr>
              <a:buFont typeface="Wingdings" pitchFamily="2" charset="2"/>
              <a:buChar char="§"/>
            </a:pPr>
            <a:r>
              <a:rPr 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тносительно </a:t>
            </a:r>
            <a:r>
              <a:rPr 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короткое время госпитализации </a:t>
            </a:r>
          </a:p>
          <a:p>
            <a:pPr marL="285750" indent="-285750" algn="ctr">
              <a:buClr>
                <a:srgbClr val="C00000"/>
              </a:buClr>
              <a:buFont typeface="Wingdings" pitchFamily="2" charset="2"/>
              <a:buChar char="§"/>
            </a:pPr>
            <a:r>
              <a:rPr 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озможность </a:t>
            </a:r>
            <a:r>
              <a:rPr 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спользования лечения тяжелобольных </a:t>
            </a:r>
            <a:endParaRPr lang="ru-RU" sz="16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настоящее время в России для РНТ используются РФП на основе изотопов и</a:t>
            </a:r>
            <a:r>
              <a:rPr lang="ru-RU" sz="1600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̆од-131, самарий-152 и стронций-90. </a:t>
            </a:r>
          </a:p>
          <a:p>
            <a:r>
              <a:rPr 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омимо этого, наиболее перспективными терапевтическими радионуклидами являются </a:t>
            </a:r>
            <a:r>
              <a:rPr lang="ru-RU" sz="1600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иттрий-90, лютеций-177, рений-188. </a:t>
            </a:r>
          </a:p>
          <a:p>
            <a:endParaRPr lang="ru-RU" sz="16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6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6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" name="Picture 4" descr="http://arkongeo.com/wp-content/uploads/2014/10/smal-6-300x167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3789040"/>
            <a:ext cx="1856303" cy="1080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861677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рез">
  <a:themeElements>
    <a:clrScheme name="Срез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Срез">
      <a:maj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рез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3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2700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Slice" id="{0507925B-6AC9-4358-8E18-C330545D08F8}" vid="{13FEC7C6-62A9-40C4-99D2-581AACACAA2F}"/>
    </a:ext>
  </a:extLst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lice</Template>
  <TotalTime>2469</TotalTime>
  <Words>2203</Words>
  <Application>Microsoft Office PowerPoint</Application>
  <PresentationFormat>Экран (4:3)</PresentationFormat>
  <Paragraphs>368</Paragraphs>
  <Slides>34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4</vt:i4>
      </vt:variant>
    </vt:vector>
  </HeadingPairs>
  <TitlesOfParts>
    <vt:vector size="36" baseType="lpstr">
      <vt:lpstr>Срез</vt:lpstr>
      <vt:lpstr>think-cell Slide</vt:lpstr>
      <vt:lpstr>Роль Методов ядерной медицины  в диагностике и лечении неинфекционных заболеваний</vt:lpstr>
      <vt:lpstr>Презентация PowerPoint</vt:lpstr>
      <vt:lpstr>Презентация PowerPoint</vt:lpstr>
      <vt:lpstr>Распространенность методов ядерной медицины и лучевой терапии любой страны зависит от обеспеченности системы здравоохранения финансовыми ресурсами</vt:lpstr>
      <vt:lpstr>Сфера использования  методов ядерной медицины</vt:lpstr>
      <vt:lpstr>Радионуклидная диагностика</vt:lpstr>
      <vt:lpstr>Позитронно-эмисионная томография ( основные области применения)</vt:lpstr>
      <vt:lpstr>Позитронно-эмисионная томография</vt:lpstr>
      <vt:lpstr>Радионуклидная терапия</vt:lpstr>
      <vt:lpstr>Презентация PowerPoint</vt:lpstr>
      <vt:lpstr>Презентация PowerPoint</vt:lpstr>
      <vt:lpstr>Презентация PowerPoint</vt:lpstr>
      <vt:lpstr>Презентация PowerPoint</vt:lpstr>
      <vt:lpstr>Программа «развитие ядерной медицины в России»: приоритетные направления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Штаты радиотерапевтической Службы в настоящее время</vt:lpstr>
      <vt:lpstr>Потребность в лучевой терапии</vt:lpstr>
      <vt:lpstr>Сравнительные показатели оснащенности оборудованием и штатами радиотерапевтической службы в РФ и Европе</vt:lpstr>
      <vt:lpstr>Протонная лучевая терапия – наиболее динамично развивающийся метод радиационной онкологии</vt:lpstr>
      <vt:lpstr>Создано одно из первых в России отделений протонно-лучевой терапии на базе разработанного отечественного комплекса «Протом»</vt:lpstr>
      <vt:lpstr>Совместно с Институтом физики высоких энергий НИЦ «Курчатовский институт» разработан и испытан первый в России комплекс для ионной лучевой терапии</vt:lpstr>
      <vt:lpstr>Ведется разработка и создание оборудования для дистанционной нейтронной и фотонно-лучевой терапии</vt:lpstr>
      <vt:lpstr>Презентация PowerPoint</vt:lpstr>
      <vt:lpstr>Программа работ по созданию радиофармацевтических препаратов</vt:lpstr>
      <vt:lpstr>ВЫВОДЫ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ОСТОЯНИЕ РАДИОТЕРАПЕВТИЧЕСКОЙ СЛУЖБЫ РОССИИ</dc:title>
  <dc:creator>User</dc:creator>
  <cp:lastModifiedBy>Любовь</cp:lastModifiedBy>
  <cp:revision>119</cp:revision>
  <dcterms:created xsi:type="dcterms:W3CDTF">2015-10-25T11:11:56Z</dcterms:created>
  <dcterms:modified xsi:type="dcterms:W3CDTF">2017-12-04T06:51:02Z</dcterms:modified>
</cp:coreProperties>
</file>